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notesSlides/notesSlide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4.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5.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6.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7.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0.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11.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2.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1"/>
  </p:notesMasterIdLst>
  <p:handoutMasterIdLst>
    <p:handoutMasterId r:id="rId22"/>
  </p:handoutMasterIdLst>
  <p:sldIdLst>
    <p:sldId id="256" r:id="rId2"/>
    <p:sldId id="262" r:id="rId3"/>
    <p:sldId id="265" r:id="rId4"/>
    <p:sldId id="292" r:id="rId5"/>
    <p:sldId id="297" r:id="rId6"/>
    <p:sldId id="291" r:id="rId7"/>
    <p:sldId id="286" r:id="rId8"/>
    <p:sldId id="294" r:id="rId9"/>
    <p:sldId id="301" r:id="rId10"/>
    <p:sldId id="299" r:id="rId11"/>
    <p:sldId id="290" r:id="rId12"/>
    <p:sldId id="300" r:id="rId13"/>
    <p:sldId id="267" r:id="rId14"/>
    <p:sldId id="289" r:id="rId15"/>
    <p:sldId id="302" r:id="rId16"/>
    <p:sldId id="279" r:id="rId17"/>
    <p:sldId id="278" r:id="rId18"/>
    <p:sldId id="261" r:id="rId19"/>
    <p:sldId id="260" r:id="rId20"/>
  </p:sldIdLst>
  <p:sldSz cx="12192000" cy="6858000"/>
  <p:notesSz cx="6950075" cy="9236075"/>
  <p:custShowLst>
    <p:custShow name="Format Guide Workshop" id="0">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46" autoAdjust="0"/>
    <p:restoredTop sz="96323" autoAdjust="0"/>
  </p:normalViewPr>
  <p:slideViewPr>
    <p:cSldViewPr snapToGrid="0">
      <p:cViewPr varScale="1">
        <p:scale>
          <a:sx n="146" d="100"/>
          <a:sy n="146" d="100"/>
        </p:scale>
        <p:origin x="200"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5936434539955322"/>
          <c:y val="7.5983768926542058E-2"/>
          <c:w val="0.69978220118347378"/>
          <c:h val="0.75343162404028952"/>
        </c:manualLayout>
      </c:layout>
      <c:lineChart>
        <c:grouping val="standard"/>
        <c:varyColors val="0"/>
        <c:ser>
          <c:idx val="0"/>
          <c:order val="0"/>
          <c:tx>
            <c:strRef>
              <c:f>Sheet1!$B$1</c:f>
              <c:strCache>
                <c:ptCount val="1"/>
                <c:pt idx="0">
                  <c:v>Color1</c:v>
                </c:pt>
              </c:strCache>
            </c:strRef>
          </c:tx>
          <c:spPr>
            <a:ln w="9525">
              <a:solidFill>
                <a:schemeClr val="tx2"/>
              </a:solidFill>
              <a:prstDash val="solid"/>
            </a:ln>
          </c:spPr>
          <c:marker>
            <c:symbol val="circle"/>
            <c:size val="6"/>
            <c:spPr>
              <a:solidFill>
                <a:schemeClr val="tx2"/>
              </a:solidFill>
              <a:ln w="3175">
                <a:solidFill>
                  <a:srgbClr val="6E6F73"/>
                </a:solidFill>
                <a:prstDash val="solid"/>
              </a:ln>
            </c:spPr>
          </c:marker>
          <c:cat>
            <c:strRef>
              <c:f>Sheet1!$A$2:$A$20</c:f>
              <c:strCache>
                <c:ptCount val="15"/>
                <c:pt idx="0">
                  <c:v>S1</c:v>
                </c:pt>
                <c:pt idx="7">
                  <c:v>S2</c:v>
                </c:pt>
                <c:pt idx="14">
                  <c:v>S3</c:v>
                </c:pt>
              </c:strCache>
            </c:strRef>
          </c:cat>
          <c:val>
            <c:numRef>
              <c:f>Sheet1!$B$2:$B$20</c:f>
              <c:numCache>
                <c:formatCode>General</c:formatCode>
                <c:ptCount val="19"/>
                <c:pt idx="0">
                  <c:v>1137</c:v>
                </c:pt>
                <c:pt idx="1">
                  <c:v>366</c:v>
                </c:pt>
                <c:pt idx="2">
                  <c:v>273</c:v>
                </c:pt>
                <c:pt idx="3">
                  <c:v>805</c:v>
                </c:pt>
                <c:pt idx="4">
                  <c:v>938</c:v>
                </c:pt>
                <c:pt idx="5">
                  <c:v>279</c:v>
                </c:pt>
                <c:pt idx="6">
                  <c:v>1099</c:v>
                </c:pt>
                <c:pt idx="7">
                  <c:v>1162</c:v>
                </c:pt>
                <c:pt idx="8">
                  <c:v>806</c:v>
                </c:pt>
                <c:pt idx="9">
                  <c:v>1095</c:v>
                </c:pt>
                <c:pt idx="10">
                  <c:v>711</c:v>
                </c:pt>
                <c:pt idx="11">
                  <c:v>1021</c:v>
                </c:pt>
                <c:pt idx="12">
                  <c:v>1035</c:v>
                </c:pt>
                <c:pt idx="13">
                  <c:v>314</c:v>
                </c:pt>
                <c:pt idx="14">
                  <c:v>825</c:v>
                </c:pt>
                <c:pt idx="15">
                  <c:v>1012</c:v>
                </c:pt>
                <c:pt idx="16">
                  <c:v>305</c:v>
                </c:pt>
                <c:pt idx="17">
                  <c:v>787</c:v>
                </c:pt>
                <c:pt idx="18">
                  <c:v>456</c:v>
                </c:pt>
              </c:numCache>
            </c:numRef>
          </c:val>
          <c:smooth val="0"/>
          <c:extLst>
            <c:ext xmlns:c16="http://schemas.microsoft.com/office/drawing/2014/chart" uri="{C3380CC4-5D6E-409C-BE32-E72D297353CC}">
              <c16:uniqueId val="{00000000-61C8-2A42-AA65-210B2CA00BF7}"/>
            </c:ext>
          </c:extLst>
        </c:ser>
        <c:ser>
          <c:idx val="1"/>
          <c:order val="1"/>
          <c:tx>
            <c:strRef>
              <c:f>Sheet1!$C$1</c:f>
              <c:strCache>
                <c:ptCount val="1"/>
                <c:pt idx="0">
                  <c:v>Column2</c:v>
                </c:pt>
              </c:strCache>
            </c:strRef>
          </c:tx>
          <c:spPr>
            <a:ln w="9525">
              <a:solidFill>
                <a:srgbClr val="6E6F73"/>
              </a:solidFill>
              <a:prstDash val="solid"/>
            </a:ln>
          </c:spPr>
          <c:marker>
            <c:symbol val="square"/>
            <c:size val="6"/>
            <c:spPr>
              <a:solidFill>
                <a:srgbClr val="6E6F73"/>
              </a:solidFill>
              <a:ln w="3175">
                <a:solidFill>
                  <a:srgbClr val="6E6F73"/>
                </a:solidFill>
                <a:prstDash val="solid"/>
              </a:ln>
            </c:spPr>
          </c:marker>
          <c:cat>
            <c:strRef>
              <c:f>Sheet1!$A$2:$A$20</c:f>
              <c:strCache>
                <c:ptCount val="15"/>
                <c:pt idx="0">
                  <c:v>S1</c:v>
                </c:pt>
                <c:pt idx="7">
                  <c:v>S2</c:v>
                </c:pt>
                <c:pt idx="14">
                  <c:v>S3</c:v>
                </c:pt>
              </c:strCache>
            </c:strRef>
          </c:cat>
          <c:val>
            <c:numRef>
              <c:f>Sheet1!$C$2:$C$20</c:f>
              <c:numCache>
                <c:formatCode>General</c:formatCode>
                <c:ptCount val="19"/>
              </c:numCache>
            </c:numRef>
          </c:val>
          <c:smooth val="0"/>
          <c:extLst>
            <c:ext xmlns:c16="http://schemas.microsoft.com/office/drawing/2014/chart" uri="{C3380CC4-5D6E-409C-BE32-E72D297353CC}">
              <c16:uniqueId val="{00000001-61C8-2A42-AA65-210B2CA00BF7}"/>
            </c:ext>
          </c:extLst>
        </c:ser>
        <c:ser>
          <c:idx val="2"/>
          <c:order val="2"/>
          <c:tx>
            <c:strRef>
              <c:f>Sheet1!$D$1</c:f>
              <c:strCache>
                <c:ptCount val="1"/>
                <c:pt idx="0">
                  <c:v>Column3</c:v>
                </c:pt>
              </c:strCache>
            </c:strRef>
          </c:tx>
          <c:spPr>
            <a:ln w="9525">
              <a:solidFill>
                <a:srgbClr val="6E6F73"/>
              </a:solidFill>
              <a:prstDash val="solid"/>
            </a:ln>
          </c:spPr>
          <c:marker>
            <c:symbol val="triangle"/>
            <c:size val="6"/>
            <c:spPr>
              <a:solidFill>
                <a:srgbClr val="6E6F73"/>
              </a:solidFill>
              <a:ln w="3175">
                <a:solidFill>
                  <a:srgbClr val="6E6F73"/>
                </a:solidFill>
                <a:prstDash val="solid"/>
              </a:ln>
            </c:spPr>
          </c:marker>
          <c:cat>
            <c:strRef>
              <c:f>Sheet1!$A$2:$A$20</c:f>
              <c:strCache>
                <c:ptCount val="15"/>
                <c:pt idx="0">
                  <c:v>S1</c:v>
                </c:pt>
                <c:pt idx="7">
                  <c:v>S2</c:v>
                </c:pt>
                <c:pt idx="14">
                  <c:v>S3</c:v>
                </c:pt>
              </c:strCache>
            </c:strRef>
          </c:cat>
          <c:val>
            <c:numRef>
              <c:f>Sheet1!$D$2:$D$20</c:f>
              <c:numCache>
                <c:formatCode>General</c:formatCode>
                <c:ptCount val="19"/>
              </c:numCache>
            </c:numRef>
          </c:val>
          <c:smooth val="0"/>
          <c:extLst>
            <c:ext xmlns:c16="http://schemas.microsoft.com/office/drawing/2014/chart" uri="{C3380CC4-5D6E-409C-BE32-E72D297353CC}">
              <c16:uniqueId val="{00000002-61C8-2A42-AA65-210B2CA00BF7}"/>
            </c:ext>
          </c:extLst>
        </c:ser>
        <c:ser>
          <c:idx val="3"/>
          <c:order val="3"/>
          <c:tx>
            <c:strRef>
              <c:f>Sheet1!$E$1</c:f>
              <c:strCache>
                <c:ptCount val="1"/>
                <c:pt idx="0">
                  <c:v>Column4</c:v>
                </c:pt>
              </c:strCache>
            </c:strRef>
          </c:tx>
          <c:spPr>
            <a:ln w="9525">
              <a:solidFill>
                <a:srgbClr val="6E6F73"/>
              </a:solidFill>
              <a:prstDash val="solid"/>
            </a:ln>
          </c:spPr>
          <c:marker>
            <c:symbol val="diamond"/>
            <c:size val="6"/>
            <c:spPr>
              <a:solidFill>
                <a:srgbClr val="6E6F73"/>
              </a:solidFill>
              <a:ln w="3175">
                <a:solidFill>
                  <a:srgbClr val="6E6F73"/>
                </a:solidFill>
                <a:prstDash val="solid"/>
              </a:ln>
            </c:spPr>
          </c:marker>
          <c:cat>
            <c:strRef>
              <c:f>Sheet1!$A$2:$A$20</c:f>
              <c:strCache>
                <c:ptCount val="15"/>
                <c:pt idx="0">
                  <c:v>S1</c:v>
                </c:pt>
                <c:pt idx="7">
                  <c:v>S2</c:v>
                </c:pt>
                <c:pt idx="14">
                  <c:v>S3</c:v>
                </c:pt>
              </c:strCache>
            </c:strRef>
          </c:cat>
          <c:val>
            <c:numRef>
              <c:f>Sheet1!$E$2:$E$20</c:f>
              <c:numCache>
                <c:formatCode>General</c:formatCode>
                <c:ptCount val="19"/>
              </c:numCache>
            </c:numRef>
          </c:val>
          <c:smooth val="0"/>
          <c:extLst>
            <c:ext xmlns:c16="http://schemas.microsoft.com/office/drawing/2014/chart" uri="{C3380CC4-5D6E-409C-BE32-E72D297353CC}">
              <c16:uniqueId val="{00000003-61C8-2A42-AA65-210B2CA00BF7}"/>
            </c:ext>
          </c:extLst>
        </c:ser>
        <c:ser>
          <c:idx val="4"/>
          <c:order val="4"/>
          <c:tx>
            <c:strRef>
              <c:f>Sheet1!$F$1</c:f>
              <c:strCache>
                <c:ptCount val="1"/>
                <c:pt idx="0">
                  <c:v>Column5</c:v>
                </c:pt>
              </c:strCache>
            </c:strRef>
          </c:tx>
          <c:spPr>
            <a:ln w="9525">
              <a:solidFill>
                <a:srgbClr val="6E6F73"/>
              </a:solidFill>
              <a:prstDash val="solid"/>
            </a:ln>
          </c:spPr>
          <c:marker>
            <c:symbol val="circle"/>
            <c:size val="6"/>
            <c:spPr>
              <a:solidFill>
                <a:srgbClr val="FFFFFF"/>
              </a:solidFill>
              <a:ln w="3175">
                <a:solidFill>
                  <a:srgbClr val="6E6F73"/>
                </a:solidFill>
                <a:prstDash val="solid"/>
              </a:ln>
            </c:spPr>
          </c:marker>
          <c:cat>
            <c:strRef>
              <c:f>Sheet1!$A$2:$A$20</c:f>
              <c:strCache>
                <c:ptCount val="15"/>
                <c:pt idx="0">
                  <c:v>S1</c:v>
                </c:pt>
                <c:pt idx="7">
                  <c:v>S2</c:v>
                </c:pt>
                <c:pt idx="14">
                  <c:v>S3</c:v>
                </c:pt>
              </c:strCache>
            </c:strRef>
          </c:cat>
          <c:val>
            <c:numRef>
              <c:f>Sheet1!$F$2:$F$20</c:f>
              <c:numCache>
                <c:formatCode>General</c:formatCode>
                <c:ptCount val="19"/>
              </c:numCache>
            </c:numRef>
          </c:val>
          <c:smooth val="0"/>
          <c:extLst>
            <c:ext xmlns:c16="http://schemas.microsoft.com/office/drawing/2014/chart" uri="{C3380CC4-5D6E-409C-BE32-E72D297353CC}">
              <c16:uniqueId val="{00000004-61C8-2A42-AA65-210B2CA00BF7}"/>
            </c:ext>
          </c:extLst>
        </c:ser>
        <c:ser>
          <c:idx val="5"/>
          <c:order val="5"/>
          <c:tx>
            <c:strRef>
              <c:f>Sheet1!$G$1</c:f>
              <c:strCache>
                <c:ptCount val="1"/>
                <c:pt idx="0">
                  <c:v>Column6</c:v>
                </c:pt>
              </c:strCache>
            </c:strRef>
          </c:tx>
          <c:spPr>
            <a:ln w="9525">
              <a:solidFill>
                <a:srgbClr val="6E6F73"/>
              </a:solidFill>
              <a:prstDash val="solid"/>
            </a:ln>
          </c:spPr>
          <c:marker>
            <c:symbol val="square"/>
            <c:size val="6"/>
            <c:spPr>
              <a:solidFill>
                <a:srgbClr val="FFFFFF"/>
              </a:solidFill>
              <a:ln w="3175">
                <a:solidFill>
                  <a:srgbClr val="6E6F73"/>
                </a:solidFill>
                <a:prstDash val="solid"/>
              </a:ln>
            </c:spPr>
          </c:marker>
          <c:cat>
            <c:strRef>
              <c:f>Sheet1!$A$2:$A$20</c:f>
              <c:strCache>
                <c:ptCount val="15"/>
                <c:pt idx="0">
                  <c:v>S1</c:v>
                </c:pt>
                <c:pt idx="7">
                  <c:v>S2</c:v>
                </c:pt>
                <c:pt idx="14">
                  <c:v>S3</c:v>
                </c:pt>
              </c:strCache>
            </c:strRef>
          </c:cat>
          <c:val>
            <c:numRef>
              <c:f>Sheet1!$G$2:$G$20</c:f>
              <c:numCache>
                <c:formatCode>General</c:formatCode>
                <c:ptCount val="19"/>
              </c:numCache>
            </c:numRef>
          </c:val>
          <c:smooth val="0"/>
          <c:extLst>
            <c:ext xmlns:c16="http://schemas.microsoft.com/office/drawing/2014/chart" uri="{C3380CC4-5D6E-409C-BE32-E72D297353CC}">
              <c16:uniqueId val="{00000005-61C8-2A42-AA65-210B2CA00BF7}"/>
            </c:ext>
          </c:extLst>
        </c:ser>
        <c:ser>
          <c:idx val="6"/>
          <c:order val="6"/>
          <c:tx>
            <c:strRef>
              <c:f>Sheet1!$H$1</c:f>
              <c:strCache>
                <c:ptCount val="1"/>
                <c:pt idx="0">
                  <c:v>Column7</c:v>
                </c:pt>
              </c:strCache>
            </c:strRef>
          </c:tx>
          <c:spPr>
            <a:ln w="9525">
              <a:solidFill>
                <a:srgbClr val="6E6F73"/>
              </a:solidFill>
              <a:prstDash val="solid"/>
            </a:ln>
          </c:spPr>
          <c:marker>
            <c:symbol val="triangle"/>
            <c:size val="7"/>
            <c:spPr>
              <a:solidFill>
                <a:srgbClr val="FFFFFF"/>
              </a:solidFill>
              <a:ln w="3175">
                <a:solidFill>
                  <a:srgbClr val="6E6F73"/>
                </a:solidFill>
                <a:prstDash val="solid"/>
              </a:ln>
            </c:spPr>
          </c:marker>
          <c:cat>
            <c:strRef>
              <c:f>Sheet1!$A$2:$A$20</c:f>
              <c:strCache>
                <c:ptCount val="15"/>
                <c:pt idx="0">
                  <c:v>S1</c:v>
                </c:pt>
                <c:pt idx="7">
                  <c:v>S2</c:v>
                </c:pt>
                <c:pt idx="14">
                  <c:v>S3</c:v>
                </c:pt>
              </c:strCache>
            </c:strRef>
          </c:cat>
          <c:val>
            <c:numRef>
              <c:f>Sheet1!$H$2:$H$20</c:f>
              <c:numCache>
                <c:formatCode>General</c:formatCode>
                <c:ptCount val="19"/>
              </c:numCache>
            </c:numRef>
          </c:val>
          <c:smooth val="0"/>
          <c:extLst>
            <c:ext xmlns:c16="http://schemas.microsoft.com/office/drawing/2014/chart" uri="{C3380CC4-5D6E-409C-BE32-E72D297353CC}">
              <c16:uniqueId val="{00000006-61C8-2A42-AA65-210B2CA00BF7}"/>
            </c:ext>
          </c:extLst>
        </c:ser>
        <c:ser>
          <c:idx val="7"/>
          <c:order val="7"/>
          <c:tx>
            <c:strRef>
              <c:f>Sheet1!$I$1</c:f>
              <c:strCache>
                <c:ptCount val="1"/>
                <c:pt idx="0">
                  <c:v>Column8</c:v>
                </c:pt>
              </c:strCache>
            </c:strRef>
          </c:tx>
          <c:spPr>
            <a:ln w="9525">
              <a:solidFill>
                <a:srgbClr val="6E6F73"/>
              </a:solidFill>
              <a:prstDash val="solid"/>
            </a:ln>
          </c:spPr>
          <c:marker>
            <c:symbol val="diamond"/>
            <c:size val="6"/>
            <c:spPr>
              <a:solidFill>
                <a:srgbClr val="FFFFFF"/>
              </a:solidFill>
              <a:ln w="3175">
                <a:solidFill>
                  <a:srgbClr val="6E6F73"/>
                </a:solidFill>
                <a:prstDash val="solid"/>
              </a:ln>
            </c:spPr>
          </c:marker>
          <c:cat>
            <c:strRef>
              <c:f>Sheet1!$A$2:$A$20</c:f>
              <c:strCache>
                <c:ptCount val="15"/>
                <c:pt idx="0">
                  <c:v>S1</c:v>
                </c:pt>
                <c:pt idx="7">
                  <c:v>S2</c:v>
                </c:pt>
                <c:pt idx="14">
                  <c:v>S3</c:v>
                </c:pt>
              </c:strCache>
            </c:strRef>
          </c:cat>
          <c:val>
            <c:numRef>
              <c:f>Sheet1!$I$2:$I$20</c:f>
              <c:numCache>
                <c:formatCode>General</c:formatCode>
                <c:ptCount val="19"/>
              </c:numCache>
            </c:numRef>
          </c:val>
          <c:smooth val="0"/>
          <c:extLst>
            <c:ext xmlns:c16="http://schemas.microsoft.com/office/drawing/2014/chart" uri="{C3380CC4-5D6E-409C-BE32-E72D297353CC}">
              <c16:uniqueId val="{00000007-61C8-2A42-AA65-210B2CA00BF7}"/>
            </c:ext>
          </c:extLst>
        </c:ser>
        <c:dLbls>
          <c:showLegendKey val="0"/>
          <c:showVal val="0"/>
          <c:showCatName val="0"/>
          <c:showSerName val="0"/>
          <c:showPercent val="0"/>
          <c:showBubbleSize val="0"/>
        </c:dLbls>
        <c:marker val="1"/>
        <c:smooth val="0"/>
        <c:axId val="856213712"/>
        <c:axId val="856203920"/>
      </c:lineChart>
      <c:catAx>
        <c:axId val="856213712"/>
        <c:scaling>
          <c:orientation val="minMax"/>
        </c:scaling>
        <c:delete val="0"/>
        <c:axPos val="b"/>
        <c:numFmt formatCode="General" sourceLinked="0"/>
        <c:majorTickMark val="none"/>
        <c:minorTickMark val="none"/>
        <c:tickLblPos val="nextTo"/>
        <c:spPr>
          <a:ln>
            <a:solidFill>
              <a:srgbClr val="9A9A9A"/>
            </a:solidFill>
            <a:prstDash val="solid"/>
          </a:ln>
        </c:spPr>
        <c:txPr>
          <a:bodyPr/>
          <a:lstStyle/>
          <a:p>
            <a:pPr>
              <a:defRPr sz="1000" baseline="0"/>
            </a:pPr>
            <a:endParaRPr lang="en-FR"/>
          </a:p>
        </c:txPr>
        <c:crossAx val="856203920"/>
        <c:crosses val="autoZero"/>
        <c:auto val="1"/>
        <c:lblAlgn val="ctr"/>
        <c:lblOffset val="100"/>
        <c:noMultiLvlLbl val="0"/>
      </c:catAx>
      <c:valAx>
        <c:axId val="856203920"/>
        <c:scaling>
          <c:orientation val="minMax"/>
        </c:scaling>
        <c:delete val="0"/>
        <c:axPos val="l"/>
        <c:numFmt formatCode="General" sourceLinked="1"/>
        <c:majorTickMark val="none"/>
        <c:minorTickMark val="none"/>
        <c:tickLblPos val="nextTo"/>
        <c:spPr>
          <a:ln>
            <a:solidFill>
              <a:srgbClr val="9A9A9A"/>
            </a:solidFill>
            <a:prstDash val="solid"/>
          </a:ln>
        </c:spPr>
        <c:txPr>
          <a:bodyPr/>
          <a:lstStyle/>
          <a:p>
            <a:pPr>
              <a:defRPr sz="1000" baseline="0"/>
            </a:pPr>
            <a:endParaRPr lang="en-FR"/>
          </a:p>
        </c:txPr>
        <c:crossAx val="856213712"/>
        <c:crosses val="autoZero"/>
        <c:crossBetween val="midCat"/>
      </c:valAx>
    </c:plotArea>
    <c:plotVisOnly val="1"/>
    <c:dispBlanksAs val="gap"/>
    <c:showDLblsOverMax val="0"/>
  </c:chart>
  <c:txPr>
    <a:bodyPr/>
    <a:lstStyle/>
    <a:p>
      <a:pPr>
        <a:defRPr sz="1200">
          <a:solidFill>
            <a:schemeClr val="tx1"/>
          </a:solidFill>
          <a:latin typeface="+mn-lt"/>
          <a:cs typeface="Arial" pitchFamily="34" charset="0"/>
        </a:defRPr>
      </a:pPr>
      <a:endParaRPr lang="en-F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3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3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2402496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eaLnBrk="0" hangingPunct="0">
              <a:defRPr sz="1200" b="1">
                <a:solidFill>
                  <a:schemeClr val="tx1"/>
                </a:solidFill>
                <a:latin typeface="Arial" panose="020B0604020202020204" pitchFamily="34" charset="0"/>
                <a:cs typeface="Arial" panose="020B0604020202020204" pitchFamily="34" charset="0"/>
              </a:defRPr>
            </a:lvl1pPr>
            <a:lvl2pPr marL="742950" indent="-285750" defTabSz="928688"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928688"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928688"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928688"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fld id="{BBB09059-6AB9-4E98-BFAB-48FAA054A155}" type="slidenum">
              <a:rPr lang="fr-FR" altLang="fr-FR"/>
              <a:pPr eaLnBrk="1" hangingPunct="1"/>
              <a:t>14</a:t>
            </a:fld>
            <a:endParaRPr lang="fr-FR" altLang="fr-FR"/>
          </a:p>
        </p:txBody>
      </p:sp>
      <p:sp>
        <p:nvSpPr>
          <p:cNvPr id="35843" name="Rectangle 2"/>
          <p:cNvSpPr>
            <a:spLocks noGrp="1" noRot="1" noChangeAspect="1" noChangeArrowheads="1" noTextEdit="1"/>
          </p:cNvSpPr>
          <p:nvPr>
            <p:ph type="sldImg"/>
          </p:nvPr>
        </p:nvSpPr>
        <p:spPr>
          <a:xfrm>
            <a:off x="155575" y="574675"/>
            <a:ext cx="6621463" cy="3724275"/>
          </a:xfrm>
          <a:ln/>
        </p:spPr>
      </p:sp>
      <p:sp>
        <p:nvSpPr>
          <p:cNvPr id="358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altLang="fr-F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41229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eaLnBrk="0" hangingPunct="0">
              <a:defRPr sz="1200" b="1">
                <a:solidFill>
                  <a:schemeClr val="tx1"/>
                </a:solidFill>
                <a:latin typeface="Arial" panose="020B0604020202020204" pitchFamily="34" charset="0"/>
                <a:cs typeface="Arial" panose="020B0604020202020204" pitchFamily="34" charset="0"/>
              </a:defRPr>
            </a:lvl1pPr>
            <a:lvl2pPr marL="742950" indent="-285750" defTabSz="928688"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928688"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928688"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928688"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fld id="{39C23EE5-F814-4B9C-8CEA-ACBFDF9FC14A}" type="slidenum">
              <a:rPr lang="fr-FR" altLang="fr-FR"/>
              <a:pPr eaLnBrk="1" hangingPunct="1"/>
              <a:t>15</a:t>
            </a:fld>
            <a:endParaRPr lang="fr-FR" altLang="fr-FR"/>
          </a:p>
        </p:txBody>
      </p:sp>
      <p:sp>
        <p:nvSpPr>
          <p:cNvPr id="38915" name="Rectangle 2"/>
          <p:cNvSpPr>
            <a:spLocks noGrp="1" noRot="1" noChangeAspect="1" noChangeArrowheads="1" noTextEdit="1"/>
          </p:cNvSpPr>
          <p:nvPr>
            <p:ph type="sldImg"/>
          </p:nvPr>
        </p:nvSpPr>
        <p:spPr>
          <a:xfrm>
            <a:off x="155575" y="574675"/>
            <a:ext cx="6621463" cy="3724275"/>
          </a:xfrm>
          <a:ln/>
        </p:spPr>
      </p:sp>
      <p:sp>
        <p:nvSpPr>
          <p:cNvPr id="389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altLang="fr-F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33999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879445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eaLnBrk="0" hangingPunct="0">
              <a:defRPr sz="1200" b="1">
                <a:solidFill>
                  <a:schemeClr val="tx1"/>
                </a:solidFill>
                <a:latin typeface="Arial" panose="020B0604020202020204" pitchFamily="34" charset="0"/>
                <a:cs typeface="Arial" panose="020B0604020202020204" pitchFamily="34" charset="0"/>
              </a:defRPr>
            </a:lvl1pPr>
            <a:lvl2pPr marL="742950" indent="-285750" defTabSz="928688"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928688"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928688"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928688"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defTabSz="928688"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fld id="{FAE10501-20E3-4509-B1B9-F980CF350EB0}" type="slidenum">
              <a:rPr lang="fr-FR" altLang="fr-FR"/>
              <a:pPr eaLnBrk="1" hangingPunct="1"/>
              <a:t>3</a:t>
            </a:fld>
            <a:endParaRPr lang="fr-FR" altLang="fr-FR"/>
          </a:p>
        </p:txBody>
      </p:sp>
      <p:sp>
        <p:nvSpPr>
          <p:cNvPr id="24579" name="Rectangle 2"/>
          <p:cNvSpPr>
            <a:spLocks noGrp="1" noRot="1" noChangeAspect="1" noChangeArrowheads="1" noTextEdit="1"/>
          </p:cNvSpPr>
          <p:nvPr>
            <p:ph type="sldImg"/>
          </p:nvPr>
        </p:nvSpPr>
        <p:spPr>
          <a:xfrm>
            <a:off x="141288" y="766763"/>
            <a:ext cx="6829425" cy="3841750"/>
          </a:xfrm>
          <a:ln/>
        </p:spPr>
      </p:sp>
      <p:sp>
        <p:nvSpPr>
          <p:cNvPr id="24580" name="Rectangle 3"/>
          <p:cNvSpPr>
            <a:spLocks noGrp="1" noChangeArrowheads="1"/>
          </p:cNvSpPr>
          <p:nvPr>
            <p:ph type="body" idx="1"/>
          </p:nvPr>
        </p:nvSpPr>
        <p:spPr>
          <a:xfrm>
            <a:off x="947738" y="4862513"/>
            <a:ext cx="5203825" cy="46053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altLang="fr-F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251882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1078416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792345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1214341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2774234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932033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38402992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8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34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393"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6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0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7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41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8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12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14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17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2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91931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rief - ClientCo 2020 - Last Versi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rief - ClientCo 2020 - Last Versi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8"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20.emf"/><Relationship Id="rId2" Type="http://schemas.openxmlformats.org/officeDocument/2006/relationships/tags" Target="../tags/tag104.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107.xml"/><Relationship Id="rId7" Type="http://schemas.openxmlformats.org/officeDocument/2006/relationships/oleObject" Target="../embeddings/oleObject29.bin"/><Relationship Id="rId2" Type="http://schemas.openxmlformats.org/officeDocument/2006/relationships/tags" Target="../tags/tag106.xml"/><Relationship Id="rId1" Type="http://schemas.openxmlformats.org/officeDocument/2006/relationships/vmlDrawing" Target="../drawings/vmlDrawing29.vml"/><Relationship Id="rId6" Type="http://schemas.openxmlformats.org/officeDocument/2006/relationships/notesSlide" Target="../notesSlides/notesSlide9.xml"/><Relationship Id="rId5" Type="http://schemas.openxmlformats.org/officeDocument/2006/relationships/slideLayout" Target="../slideLayouts/slideLayout2.xml"/><Relationship Id="rId10" Type="http://schemas.openxmlformats.org/officeDocument/2006/relationships/image" Target="../media/image25.png"/><Relationship Id="rId4" Type="http://schemas.openxmlformats.org/officeDocument/2006/relationships/tags" Target="../tags/tag108.xml"/><Relationship Id="rId9"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9.xml"/><Relationship Id="rId1" Type="http://schemas.openxmlformats.org/officeDocument/2006/relationships/vmlDrawing" Target="../drawings/vmlDrawing30.vml"/><Relationship Id="rId5" Type="http://schemas.openxmlformats.org/officeDocument/2006/relationships/image" Target="../media/image26.emf"/><Relationship Id="rId4" Type="http://schemas.openxmlformats.org/officeDocument/2006/relationships/oleObject" Target="../embeddings/oleObject30.bin"/></Relationships>
</file>

<file path=ppt/slides/_rels/slide1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slide" Target="slide13.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image" Target="../media/image18.emf"/><Relationship Id="rId2" Type="http://schemas.openxmlformats.org/officeDocument/2006/relationships/tags" Target="../tags/tag110.xml"/><Relationship Id="rId1" Type="http://schemas.openxmlformats.org/officeDocument/2006/relationships/vmlDrawing" Target="../drawings/vmlDrawing31.vml"/><Relationship Id="rId6" Type="http://schemas.openxmlformats.org/officeDocument/2006/relationships/tags" Target="../tags/tag114.xml"/><Relationship Id="rId11" Type="http://schemas.openxmlformats.org/officeDocument/2006/relationships/image" Target="../media/image19.emf"/><Relationship Id="rId5" Type="http://schemas.openxmlformats.org/officeDocument/2006/relationships/tags" Target="../tags/tag113.xml"/><Relationship Id="rId10" Type="http://schemas.openxmlformats.org/officeDocument/2006/relationships/oleObject" Target="../embeddings/oleObject31.bin"/><Relationship Id="rId4" Type="http://schemas.openxmlformats.org/officeDocument/2006/relationships/tags" Target="../tags/tag112.xml"/><Relationship Id="rId9" Type="http://schemas.openxmlformats.org/officeDocument/2006/relationships/slideLayout" Target="../slideLayouts/slideLayout9.xml"/><Relationship Id="rId14" Type="http://schemas.openxmlformats.org/officeDocument/2006/relationships/slide" Target="slide3.xml"/></Relationships>
</file>

<file path=ppt/slides/_rels/slide14.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20.emf"/><Relationship Id="rId2" Type="http://schemas.openxmlformats.org/officeDocument/2006/relationships/tags" Target="../tags/tag117.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hyperlink" Target="mailto:tusevo.elodie@bcg.com" TargetMode="External"/><Relationship Id="rId2" Type="http://schemas.openxmlformats.org/officeDocument/2006/relationships/tags" Target="../tags/tag119.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122.xml"/><Relationship Id="rId7" Type="http://schemas.openxmlformats.org/officeDocument/2006/relationships/oleObject" Target="../embeddings/oleObject34.bin"/><Relationship Id="rId2" Type="http://schemas.openxmlformats.org/officeDocument/2006/relationships/tags" Target="../tags/tag121.xml"/><Relationship Id="rId1" Type="http://schemas.openxmlformats.org/officeDocument/2006/relationships/vmlDrawing" Target="../drawings/vmlDrawing34.vml"/><Relationship Id="rId6" Type="http://schemas.openxmlformats.org/officeDocument/2006/relationships/notesSlide" Target="../notesSlides/notesSlide12.xml"/><Relationship Id="rId5" Type="http://schemas.openxmlformats.org/officeDocument/2006/relationships/slideLayout" Target="../slideLayouts/slideLayout18.xml"/><Relationship Id="rId4" Type="http://schemas.openxmlformats.org/officeDocument/2006/relationships/tags" Target="../tags/tag123.xml"/></Relationships>
</file>

<file path=ppt/slides/_rels/slide17.xml.rels><?xml version="1.0" encoding="UTF-8" standalone="yes"?>
<Relationships xmlns="http://schemas.openxmlformats.org/package/2006/relationships"><Relationship Id="rId8" Type="http://schemas.openxmlformats.org/officeDocument/2006/relationships/hyperlink" Target="https://pandas.pydata.org/" TargetMode="External"/><Relationship Id="rId3" Type="http://schemas.openxmlformats.org/officeDocument/2006/relationships/tags" Target="../tags/tag125.xml"/><Relationship Id="rId7" Type="http://schemas.openxmlformats.org/officeDocument/2006/relationships/hyperlink" Target="https://jakevdp.github.io/PythonDataScienceHandbook/" TargetMode="External"/><Relationship Id="rId2" Type="http://schemas.openxmlformats.org/officeDocument/2006/relationships/tags" Target="../tags/tag124.xml"/><Relationship Id="rId1" Type="http://schemas.openxmlformats.org/officeDocument/2006/relationships/vmlDrawing" Target="../drawings/vmlDrawing35.vml"/><Relationship Id="rId6" Type="http://schemas.openxmlformats.org/officeDocument/2006/relationships/image" Target="../media/image19.emf"/><Relationship Id="rId5" Type="http://schemas.openxmlformats.org/officeDocument/2006/relationships/oleObject" Target="../embeddings/oleObject35.bin"/><Relationship Id="rId10" Type="http://schemas.openxmlformats.org/officeDocument/2006/relationships/hyperlink" Target="https://scikit-learn.org/stable/tutorial/index.html" TargetMode="External"/><Relationship Id="rId4" Type="http://schemas.openxmlformats.org/officeDocument/2006/relationships/slideLayout" Target="../slideLayouts/slideLayout3.xml"/><Relationship Id="rId9" Type="http://schemas.openxmlformats.org/officeDocument/2006/relationships/hyperlink" Target="https://pandas.pydata.org/pandas-docs/stable/getting_started/10min.html"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85.xml"/><Relationship Id="rId7" Type="http://schemas.openxmlformats.org/officeDocument/2006/relationships/image" Target="../media/image11.emf"/><Relationship Id="rId12" Type="http://schemas.openxmlformats.org/officeDocument/2006/relationships/image" Target="../media/image16.tiff"/><Relationship Id="rId2" Type="http://schemas.openxmlformats.org/officeDocument/2006/relationships/tags" Target="../tags/tag84.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15.jpeg"/><Relationship Id="rId5" Type="http://schemas.openxmlformats.org/officeDocument/2006/relationships/notesSlide" Target="../notesSlides/notesSlide2.xml"/><Relationship Id="rId10" Type="http://schemas.openxmlformats.org/officeDocument/2006/relationships/image" Target="../media/image14.jpeg"/><Relationship Id="rId4" Type="http://schemas.openxmlformats.org/officeDocument/2006/relationships/slideLayout" Target="../slideLayouts/slideLayout2.xml"/><Relationship Id="rId9" Type="http://schemas.openxmlformats.org/officeDocument/2006/relationships/image" Target="../media/image13.jpg"/></Relationships>
</file>

<file path=ppt/slides/_rels/slide3.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oleObject" Target="../embeddings/oleObject21.bin"/><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slide" Target="slide3.xml"/><Relationship Id="rId2" Type="http://schemas.openxmlformats.org/officeDocument/2006/relationships/tags" Target="../tags/tag86.xml"/><Relationship Id="rId1" Type="http://schemas.openxmlformats.org/officeDocument/2006/relationships/vmlDrawing" Target="../drawings/vmlDrawing21.vml"/><Relationship Id="rId6" Type="http://schemas.openxmlformats.org/officeDocument/2006/relationships/tags" Target="../tags/tag90.xml"/><Relationship Id="rId11" Type="http://schemas.openxmlformats.org/officeDocument/2006/relationships/image" Target="../media/image18.emf"/><Relationship Id="rId5" Type="http://schemas.openxmlformats.org/officeDocument/2006/relationships/tags" Target="../tags/tag89.xml"/><Relationship Id="rId10" Type="http://schemas.openxmlformats.org/officeDocument/2006/relationships/slide" Target="slide13.xml"/><Relationship Id="rId4" Type="http://schemas.openxmlformats.org/officeDocument/2006/relationships/tags" Target="../tags/tag88.xml"/><Relationship Id="rId9" Type="http://schemas.openxmlformats.org/officeDocument/2006/relationships/slideLayout" Target="../slideLayouts/slideLayout9.xml"/><Relationship Id="rId14" Type="http://schemas.openxmlformats.org/officeDocument/2006/relationships/image" Target="../media/image17.emf"/></Relationships>
</file>

<file path=ppt/slides/_rels/slide4.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9.emf"/><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20.emf"/><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8.xml"/><Relationship Id="rId7" Type="http://schemas.openxmlformats.org/officeDocument/2006/relationships/image" Target="../media/image20.emf"/><Relationship Id="rId2" Type="http://schemas.openxmlformats.org/officeDocument/2006/relationships/tags" Target="../tags/tag9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paris.fr/explore/dataset/comptages-routiers-permanents/export/?disjunctive.libelle&amp;disjunctive.etat_trafic&amp;disjunctive.libelle_nd_amont&amp;disjunctive.libelle_nd_aval&amp;sort=t_1h" TargetMode="External"/><Relationship Id="rId3" Type="http://schemas.openxmlformats.org/officeDocument/2006/relationships/tags" Target="../tags/tag100.xml"/><Relationship Id="rId7" Type="http://schemas.openxmlformats.org/officeDocument/2006/relationships/image" Target="../media/image20.emf"/><Relationship Id="rId2" Type="http://schemas.openxmlformats.org/officeDocument/2006/relationships/tags" Target="../tags/tag9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101.xml"/><Relationship Id="rId1" Type="http://schemas.openxmlformats.org/officeDocument/2006/relationships/vmlDrawing" Target="../drawings/vmlDrawing26.vml"/><Relationship Id="rId6" Type="http://schemas.openxmlformats.org/officeDocument/2006/relationships/hyperlink" Target="https://opendata.paris.fr/explore/dataset/comptages-routiers-permanents/export/?disjunctive.libelle&amp;disjunctive.etat_trafic&amp;disjunctive.libelle_nd_amont&amp;disjunctive.libelle_nd_aval&amp;sort=t_1h" TargetMode="External"/><Relationship Id="rId5" Type="http://schemas.openxmlformats.org/officeDocument/2006/relationships/image" Target="../media/image22.emf"/><Relationship Id="rId4" Type="http://schemas.openxmlformats.org/officeDocument/2006/relationships/oleObject" Target="../embeddings/oleObject26.bin"/></Relationships>
</file>

<file path=ppt/slides/_rels/slide9.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20.emf"/><Relationship Id="rId2" Type="http://schemas.openxmlformats.org/officeDocument/2006/relationships/tags" Target="../tags/tag102.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55271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3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fr-BE" sz="5400" dirty="0">
              <a:solidFill>
                <a:srgbClr val="FFFFFF"/>
              </a:solidFill>
              <a:latin typeface="Trebuchet MS" panose="020B0703020202090204" pitchFamily="34" charset="0"/>
              <a:ea typeface="+mj-ea"/>
              <a:cs typeface="+mj-cs"/>
              <a:sym typeface="Trebuchet MS" panose="020B0703020202090204" pitchFamily="34" charset="0"/>
            </a:endParaRPr>
          </a:p>
        </p:txBody>
      </p:sp>
      <p:pic>
        <p:nvPicPr>
          <p:cNvPr id="8" name="Picture Placeholder 3"/>
          <p:cNvPicPr>
            <a:picLocks noGrp="1" noChangeAspect="1"/>
          </p:cNvPicPr>
          <p:nvPr>
            <p:ph type="pic" sz="quarter" idx="13"/>
          </p:nvPr>
        </p:nvPicPr>
        <p:blipFill>
          <a:blip r:embed="rId8">
            <a:extLst>
              <a:ext uri="{28A0092B-C50C-407E-A947-70E740481C1C}">
                <a14:useLocalDpi xmlns:a14="http://schemas.microsoft.com/office/drawing/2010/main" val="0"/>
              </a:ext>
            </a:extLst>
          </a:blip>
          <a:srcRect l="4062" r="4062"/>
          <a:stretch>
            <a:fillRect/>
          </a:stretch>
        </p:blipFill>
        <p:spPr/>
      </p:pic>
      <p:sp>
        <p:nvSpPr>
          <p:cNvPr id="13" name="Text Placeholder 12"/>
          <p:cNvSpPr>
            <a:spLocks noGrp="1"/>
          </p:cNvSpPr>
          <p:nvPr>
            <p:ph type="body" sz="quarter" idx="12"/>
          </p:nvPr>
        </p:nvSpPr>
        <p:spPr/>
        <p:txBody>
          <a:bodyPr/>
          <a:lstStyle/>
          <a:p>
            <a:r>
              <a:rPr lang="en-US" dirty="0"/>
              <a:t>30 NOVEMBRE 2020</a:t>
            </a:r>
          </a:p>
        </p:txBody>
      </p:sp>
      <p:sp>
        <p:nvSpPr>
          <p:cNvPr id="12" name="Subtitle 11"/>
          <p:cNvSpPr>
            <a:spLocks noGrp="1"/>
          </p:cNvSpPr>
          <p:nvPr>
            <p:ph type="subTitle" idx="1"/>
          </p:nvPr>
        </p:nvSpPr>
        <p:spPr/>
        <p:txBody>
          <a:bodyPr/>
          <a:lstStyle/>
          <a:p>
            <a:r>
              <a:rPr lang="en-US" dirty="0" err="1"/>
              <a:t>CentraleSupélec</a:t>
            </a:r>
            <a:endParaRPr lang="en-US" dirty="0"/>
          </a:p>
        </p:txBody>
      </p:sp>
      <p:sp>
        <p:nvSpPr>
          <p:cNvPr id="11" name="Title 10"/>
          <p:cNvSpPr>
            <a:spLocks noGrp="1"/>
          </p:cNvSpPr>
          <p:nvPr>
            <p:ph type="ctrTitle"/>
          </p:nvPr>
        </p:nvSpPr>
        <p:spPr/>
        <p:txBody>
          <a:bodyPr/>
          <a:lstStyle/>
          <a:p>
            <a:r>
              <a:rPr lang="fr-BE"/>
              <a:t>Etude de cas </a:t>
            </a:r>
            <a:br>
              <a:rPr lang="fr-BE"/>
            </a:br>
            <a:r>
              <a:rPr lang="fr-BE"/>
              <a:t>LivraisonCo</a:t>
            </a:r>
            <a:br>
              <a:rPr lang="fr-BE"/>
            </a:br>
            <a:r>
              <a:rPr lang="fr-BE"/>
              <a:t>Brief initial </a:t>
            </a:r>
            <a:endParaRPr lang="fr-BE" dirty="0"/>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4818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94"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3" name="Title 2"/>
          <p:cNvSpPr>
            <a:spLocks noGrp="1"/>
          </p:cNvSpPr>
          <p:nvPr>
            <p:ph type="title"/>
          </p:nvPr>
        </p:nvSpPr>
        <p:spPr>
          <a:xfrm>
            <a:off x="630000" y="622800"/>
            <a:ext cx="10933200" cy="941796"/>
          </a:xfrm>
        </p:spPr>
        <p:txBody>
          <a:bodyPr vert="horz"/>
          <a:lstStyle/>
          <a:p>
            <a:r>
              <a:rPr lang="fr-FR" u="sng" dirty="0">
                <a:solidFill>
                  <a:srgbClr val="03522D"/>
                </a:solidFill>
              </a:rPr>
              <a:t>Livrable 2 :</a:t>
            </a:r>
            <a:r>
              <a:rPr lang="fr-FR" dirty="0">
                <a:solidFill>
                  <a:srgbClr val="03522D"/>
                </a:solidFill>
              </a:rPr>
              <a:t> </a:t>
            </a:r>
            <a:r>
              <a:rPr lang="fr-FR" dirty="0">
                <a:solidFill>
                  <a:srgbClr val="29BA74"/>
                </a:solidFill>
              </a:rPr>
              <a:t>Zoom sur la </a:t>
            </a:r>
            <a:r>
              <a:rPr lang="fr-FR" dirty="0"/>
              <a:t>feuille de route pour la suite de la mission</a:t>
            </a:r>
          </a:p>
        </p:txBody>
      </p:sp>
      <p:sp>
        <p:nvSpPr>
          <p:cNvPr id="11" name="ee4pContent1"/>
          <p:cNvSpPr txBox="1"/>
          <p:nvPr/>
        </p:nvSpPr>
        <p:spPr>
          <a:xfrm>
            <a:off x="629400" y="3183187"/>
            <a:ext cx="4995640" cy="320087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fr-FR" sz="1600" dirty="0">
                <a:solidFill>
                  <a:schemeClr val="tx1">
                    <a:lumMod val="100000"/>
                  </a:schemeClr>
                </a:solidFill>
              </a:rPr>
              <a:t>Une fois le trafic connu, notre client pourra adapter ses créneaux de livraison pour profiter des temps de fluidité. </a:t>
            </a:r>
            <a:r>
              <a:rPr lang="fr-FR" sz="1600" dirty="0">
                <a:solidFill>
                  <a:schemeClr val="tx1">
                    <a:lumMod val="100000"/>
                  </a:schemeClr>
                </a:solidFill>
                <a:latin typeface="Trebuchet MS" panose="020B0703020202090204" pitchFamily="34" charset="0"/>
              </a:rPr>
              <a:t>Il lui manquera cependant des éléments pour optimiser son processus: </a:t>
            </a:r>
            <a:r>
              <a:rPr lang="fr-FR" sz="1600" b="1" dirty="0">
                <a:solidFill>
                  <a:schemeClr val="tx1">
                    <a:lumMod val="100000"/>
                  </a:schemeClr>
                </a:solidFill>
                <a:latin typeface="Trebuchet MS" panose="020B0703020202090204" pitchFamily="34" charset="0"/>
              </a:rPr>
              <a:t># de livraisons à réaliser, # de créneaux de livraison nécessaires, répartition de ses livreurs sur ces créneaux…</a:t>
            </a:r>
          </a:p>
          <a:p>
            <a:pPr lvl="1">
              <a:buClr>
                <a:schemeClr val="tx2">
                  <a:lumMod val="100000"/>
                </a:schemeClr>
              </a:buClr>
              <a:buSzPct val="100000"/>
            </a:pPr>
            <a:endParaRPr lang="fr-FR" sz="1600" dirty="0">
              <a:solidFill>
                <a:schemeClr val="tx1">
                  <a:lumMod val="100000"/>
                </a:schemeClr>
              </a:solidFill>
              <a:latin typeface="Trebuchet MS" panose="020B0703020202090204" pitchFamily="34" charset="0"/>
            </a:endParaRPr>
          </a:p>
          <a:p>
            <a:pPr lvl="1">
              <a:buClr>
                <a:schemeClr val="tx2">
                  <a:lumMod val="100000"/>
                </a:schemeClr>
              </a:buClr>
              <a:buSzPct val="100000"/>
            </a:pPr>
            <a:r>
              <a:rPr lang="fr-FR" sz="1600" dirty="0" err="1">
                <a:solidFill>
                  <a:schemeClr val="tx1">
                    <a:lumMod val="100000"/>
                  </a:schemeClr>
                </a:solidFill>
                <a:latin typeface="Trebuchet MS" panose="020B0703020202090204" pitchFamily="34" charset="0"/>
              </a:rPr>
              <a:t>LivraisonCo</a:t>
            </a:r>
            <a:r>
              <a:rPr lang="fr-FR" sz="1600" dirty="0">
                <a:solidFill>
                  <a:schemeClr val="tx1">
                    <a:lumMod val="100000"/>
                  </a:schemeClr>
                </a:solidFill>
                <a:latin typeface="Trebuchet MS" panose="020B0703020202090204" pitchFamily="34" charset="0"/>
              </a:rPr>
              <a:t> a accès à un pool de livreurs dont le coût horaire charges comprises est le suivant: </a:t>
            </a:r>
            <a:r>
              <a:rPr lang="fr-FR" sz="1600" b="1" dirty="0">
                <a:solidFill>
                  <a:schemeClr val="tx1">
                    <a:lumMod val="100000"/>
                  </a:schemeClr>
                </a:solidFill>
                <a:latin typeface="Trebuchet MS" panose="020B0703020202090204" pitchFamily="34" charset="0"/>
              </a:rPr>
              <a:t>10€ le jour </a:t>
            </a:r>
            <a:r>
              <a:rPr lang="fr-FR" sz="1600" dirty="0">
                <a:solidFill>
                  <a:schemeClr val="tx1">
                    <a:lumMod val="100000"/>
                  </a:schemeClr>
                </a:solidFill>
                <a:latin typeface="Trebuchet MS" panose="020B0703020202090204" pitchFamily="34" charset="0"/>
              </a:rPr>
              <a:t>(8h-20h), </a:t>
            </a:r>
            <a:r>
              <a:rPr lang="fr-FR" sz="1600" b="1" dirty="0">
                <a:solidFill>
                  <a:schemeClr val="tx1">
                    <a:lumMod val="100000"/>
                  </a:schemeClr>
                </a:solidFill>
                <a:latin typeface="Trebuchet MS" panose="020B0703020202090204" pitchFamily="34" charset="0"/>
              </a:rPr>
              <a:t>14€ la nuit </a:t>
            </a:r>
            <a:r>
              <a:rPr lang="fr-FR" sz="1600" dirty="0">
                <a:solidFill>
                  <a:schemeClr val="tx1">
                    <a:lumMod val="100000"/>
                  </a:schemeClr>
                </a:solidFill>
                <a:latin typeface="Trebuchet MS" panose="020B0703020202090204" pitchFamily="34" charset="0"/>
              </a:rPr>
              <a:t>(20h-8h). Les livreurs travaillent par tranches horaires de 4h minimum, 8h maximum</a:t>
            </a:r>
            <a:endParaRPr lang="fr-FR" sz="1600" dirty="0">
              <a:solidFill>
                <a:schemeClr val="tx1">
                  <a:lumMod val="100000"/>
                </a:schemeClr>
              </a:solidFill>
            </a:endParaRPr>
          </a:p>
        </p:txBody>
      </p:sp>
      <p:sp>
        <p:nvSpPr>
          <p:cNvPr id="12" name="ee4pContent2"/>
          <p:cNvSpPr txBox="1"/>
          <p:nvPr/>
        </p:nvSpPr>
        <p:spPr>
          <a:xfrm>
            <a:off x="6567560" y="3183186"/>
            <a:ext cx="4857303" cy="232279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Clr>
                <a:schemeClr val="tx2">
                  <a:lumMod val="100000"/>
                </a:schemeClr>
              </a:buClr>
              <a:buSzPct val="100000"/>
              <a:buNone/>
            </a:pPr>
            <a:endParaRPr lang="fr-FR" sz="1600" dirty="0">
              <a:solidFill>
                <a:schemeClr val="tx1">
                  <a:lumMod val="100000"/>
                </a:schemeClr>
              </a:solidFill>
              <a:latin typeface="Trebuchet MS" panose="020B0703020202090204" pitchFamily="34" charset="0"/>
            </a:endParaRPr>
          </a:p>
        </p:txBody>
      </p:sp>
      <p:sp>
        <p:nvSpPr>
          <p:cNvPr id="20" name="ee4pHeader1"/>
          <p:cNvSpPr txBox="1"/>
          <p:nvPr/>
        </p:nvSpPr>
        <p:spPr>
          <a:xfrm>
            <a:off x="630000" y="2086129"/>
            <a:ext cx="4995640" cy="658368"/>
          </a:xfrm>
          <a:prstGeom prst="rect">
            <a:avLst/>
          </a:prstGeom>
          <a:noFill/>
          <a:ln cap="rnd">
            <a:noFill/>
          </a:ln>
        </p:spPr>
        <p:txBody>
          <a:bodyPr wrap="square" lIns="0" tIns="0" rIns="0" bIns="0" rtlCol="0" anchor="b" anchorCtr="0">
            <a:noAutofit/>
          </a:bodyPr>
          <a:lstStyle/>
          <a:p>
            <a:pPr marL="0" lvl="3"/>
            <a:r>
              <a:rPr lang="en-US" sz="2400" dirty="0" err="1">
                <a:solidFill>
                  <a:schemeClr val="tx2"/>
                </a:solidFill>
              </a:rPr>
              <a:t>Contexte</a:t>
            </a:r>
            <a:endParaRPr lang="en-US" sz="2400" dirty="0">
              <a:solidFill>
                <a:schemeClr val="tx2"/>
              </a:solidFill>
            </a:endParaRPr>
          </a:p>
        </p:txBody>
      </p:sp>
      <p:sp>
        <p:nvSpPr>
          <p:cNvPr id="21" name="ee4pHeader2"/>
          <p:cNvSpPr txBox="1"/>
          <p:nvPr/>
        </p:nvSpPr>
        <p:spPr>
          <a:xfrm>
            <a:off x="6567560" y="2086129"/>
            <a:ext cx="4995640" cy="658368"/>
          </a:xfrm>
          <a:prstGeom prst="rect">
            <a:avLst/>
          </a:prstGeom>
          <a:noFill/>
          <a:ln cap="rnd">
            <a:noFill/>
          </a:ln>
        </p:spPr>
        <p:txBody>
          <a:bodyPr wrap="square" lIns="0" tIns="0" rIns="0" bIns="0" rtlCol="0" anchor="b" anchorCtr="0">
            <a:noAutofit/>
          </a:bodyPr>
          <a:lstStyle/>
          <a:p>
            <a:pPr marL="0" lvl="3"/>
            <a:r>
              <a:rPr lang="fr-FR" sz="2400" dirty="0">
                <a:solidFill>
                  <a:schemeClr val="tx2"/>
                </a:solidFill>
              </a:rPr>
              <a:t>Objectif</a:t>
            </a:r>
          </a:p>
        </p:txBody>
      </p:sp>
      <p:grpSp>
        <p:nvGrpSpPr>
          <p:cNvPr id="37" name="Group 36"/>
          <p:cNvGrpSpPr/>
          <p:nvPr/>
        </p:nvGrpSpPr>
        <p:grpSpPr>
          <a:xfrm rot="5400000">
            <a:off x="2974735" y="603618"/>
            <a:ext cx="306171" cy="4486989"/>
            <a:chOff x="5942914" y="1877259"/>
            <a:chExt cx="306171" cy="4486989"/>
          </a:xfrm>
        </p:grpSpPr>
        <p:cxnSp>
          <p:nvCxnSpPr>
            <p:cNvPr id="38" name="Straight Connector 37"/>
            <p:cNvCxnSpPr/>
            <p:nvPr/>
          </p:nvCxnSpPr>
          <p:spPr>
            <a:xfrm>
              <a:off x="6096001" y="1877259"/>
              <a:ext cx="0" cy="44869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5942914" y="3967299"/>
              <a:ext cx="306171" cy="306910"/>
              <a:chOff x="5937564" y="3833745"/>
              <a:chExt cx="306171" cy="306910"/>
            </a:xfrm>
          </p:grpSpPr>
          <p:sp>
            <p:nvSpPr>
              <p:cNvPr id="4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42" name="Group 41"/>
          <p:cNvGrpSpPr/>
          <p:nvPr/>
        </p:nvGrpSpPr>
        <p:grpSpPr>
          <a:xfrm rot="5400000">
            <a:off x="8912296" y="603618"/>
            <a:ext cx="306171" cy="4486989"/>
            <a:chOff x="5942914" y="1877259"/>
            <a:chExt cx="306171" cy="4486989"/>
          </a:xfrm>
        </p:grpSpPr>
        <p:cxnSp>
          <p:nvCxnSpPr>
            <p:cNvPr id="43" name="Straight Connector 42"/>
            <p:cNvCxnSpPr/>
            <p:nvPr/>
          </p:nvCxnSpPr>
          <p:spPr>
            <a:xfrm>
              <a:off x="6096001" y="1877259"/>
              <a:ext cx="0" cy="44869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5942914" y="3967299"/>
              <a:ext cx="306171" cy="306910"/>
              <a:chOff x="5937564" y="3833745"/>
              <a:chExt cx="306171" cy="306910"/>
            </a:xfrm>
          </p:grpSpPr>
          <p:sp>
            <p:nvSpPr>
              <p:cNvPr id="45"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6"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66" name="Group 65">
            <a:extLst>
              <a:ext uri="{FF2B5EF4-FFF2-40B4-BE49-F238E27FC236}">
                <a16:creationId xmlns:a16="http://schemas.microsoft.com/office/drawing/2014/main" id="{5963B48A-65F9-3643-AB54-88000764A85D}"/>
              </a:ext>
            </a:extLst>
          </p:cNvPr>
          <p:cNvGrpSpPr>
            <a:grpSpLocks noChangeAspect="1"/>
          </p:cNvGrpSpPr>
          <p:nvPr/>
        </p:nvGrpSpPr>
        <p:grpSpPr>
          <a:xfrm>
            <a:off x="474644" y="1603144"/>
            <a:ext cx="843836" cy="844617"/>
            <a:chOff x="5273802" y="2606040"/>
            <a:chExt cx="1644396" cy="1645920"/>
          </a:xfrm>
        </p:grpSpPr>
        <p:sp>
          <p:nvSpPr>
            <p:cNvPr id="67" name="AutoShape 18">
              <a:extLst>
                <a:ext uri="{FF2B5EF4-FFF2-40B4-BE49-F238E27FC236}">
                  <a16:creationId xmlns:a16="http://schemas.microsoft.com/office/drawing/2014/main" id="{48D70C90-673F-1E4E-8CA8-61FD85B1739A}"/>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8" name="Group 67">
              <a:extLst>
                <a:ext uri="{FF2B5EF4-FFF2-40B4-BE49-F238E27FC236}">
                  <a16:creationId xmlns:a16="http://schemas.microsoft.com/office/drawing/2014/main" id="{2350B2B2-795B-BB4D-99F4-7F1DC1009724}"/>
                </a:ext>
              </a:extLst>
            </p:cNvPr>
            <p:cNvGrpSpPr/>
            <p:nvPr/>
          </p:nvGrpSpPr>
          <p:grpSpPr>
            <a:xfrm>
              <a:off x="5388863" y="2953131"/>
              <a:ext cx="1409318" cy="967360"/>
              <a:chOff x="5388863" y="2953131"/>
              <a:chExt cx="1409319" cy="967359"/>
            </a:xfrm>
          </p:grpSpPr>
          <p:sp>
            <p:nvSpPr>
              <p:cNvPr id="69" name="Freeform 20">
                <a:extLst>
                  <a:ext uri="{FF2B5EF4-FFF2-40B4-BE49-F238E27FC236}">
                    <a16:creationId xmlns:a16="http://schemas.microsoft.com/office/drawing/2014/main" id="{9E61C16F-8457-B44A-82E1-04448BEF823C}"/>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21">
                <a:extLst>
                  <a:ext uri="{FF2B5EF4-FFF2-40B4-BE49-F238E27FC236}">
                    <a16:creationId xmlns:a16="http://schemas.microsoft.com/office/drawing/2014/main" id="{B4996D18-A2B1-D54F-AAD1-D07E49AD3D09}"/>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5" name="TextBox 4">
            <a:extLst>
              <a:ext uri="{FF2B5EF4-FFF2-40B4-BE49-F238E27FC236}">
                <a16:creationId xmlns:a16="http://schemas.microsoft.com/office/drawing/2014/main" id="{34A6E280-3032-2445-82C6-0FB48B8B170E}"/>
              </a:ext>
            </a:extLst>
          </p:cNvPr>
          <p:cNvSpPr txBox="1"/>
          <p:nvPr/>
        </p:nvSpPr>
        <p:spPr>
          <a:xfrm>
            <a:off x="5763802" y="372952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FR" dirty="0" err="1">
              <a:solidFill>
                <a:srgbClr val="575757"/>
              </a:solidFill>
            </a:endParaRPr>
          </a:p>
        </p:txBody>
      </p:sp>
      <p:grpSp>
        <p:nvGrpSpPr>
          <p:cNvPr id="76" name="bcgIcons_Target">
            <a:extLst>
              <a:ext uri="{FF2B5EF4-FFF2-40B4-BE49-F238E27FC236}">
                <a16:creationId xmlns:a16="http://schemas.microsoft.com/office/drawing/2014/main" id="{D9AB46DC-DF4C-6742-8D13-C9620D4CE507}"/>
              </a:ext>
            </a:extLst>
          </p:cNvPr>
          <p:cNvGrpSpPr>
            <a:grpSpLocks noChangeAspect="1"/>
          </p:cNvGrpSpPr>
          <p:nvPr/>
        </p:nvGrpSpPr>
        <p:grpSpPr bwMode="auto">
          <a:xfrm>
            <a:off x="6438325" y="1603144"/>
            <a:ext cx="843835" cy="844617"/>
            <a:chOff x="1682" y="0"/>
            <a:chExt cx="4316" cy="4320"/>
          </a:xfrm>
        </p:grpSpPr>
        <p:sp>
          <p:nvSpPr>
            <p:cNvPr id="77" name="AutoShape 23">
              <a:extLst>
                <a:ext uri="{FF2B5EF4-FFF2-40B4-BE49-F238E27FC236}">
                  <a16:creationId xmlns:a16="http://schemas.microsoft.com/office/drawing/2014/main" id="{14531687-53CA-B34E-8EE2-B96B9FCBC11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5">
              <a:extLst>
                <a:ext uri="{FF2B5EF4-FFF2-40B4-BE49-F238E27FC236}">
                  <a16:creationId xmlns:a16="http://schemas.microsoft.com/office/drawing/2014/main" id="{8362E3D6-6F19-0146-B182-AEC894D245D9}"/>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6">
              <a:extLst>
                <a:ext uri="{FF2B5EF4-FFF2-40B4-BE49-F238E27FC236}">
                  <a16:creationId xmlns:a16="http://schemas.microsoft.com/office/drawing/2014/main" id="{ED4E61AA-D4EC-B444-AEEA-1790455F95D8}"/>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ee4pContent1">
            <a:extLst>
              <a:ext uri="{FF2B5EF4-FFF2-40B4-BE49-F238E27FC236}">
                <a16:creationId xmlns:a16="http://schemas.microsoft.com/office/drawing/2014/main" id="{5036B69C-2804-D742-8A3E-417F09E8E701}"/>
              </a:ext>
            </a:extLst>
          </p:cNvPr>
          <p:cNvSpPr txBox="1"/>
          <p:nvPr/>
        </p:nvSpPr>
        <p:spPr>
          <a:xfrm>
            <a:off x="6567560" y="3183187"/>
            <a:ext cx="4995640" cy="270843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Clr>
                <a:schemeClr val="tx2">
                  <a:lumMod val="100000"/>
                </a:schemeClr>
              </a:buClr>
              <a:buSzPct val="100000"/>
              <a:buNone/>
            </a:pPr>
            <a:r>
              <a:rPr lang="fr-FR" sz="1600" dirty="0">
                <a:solidFill>
                  <a:schemeClr val="tx1">
                    <a:lumMod val="100000"/>
                  </a:schemeClr>
                </a:solidFill>
              </a:rPr>
              <a:t>Présenter une feuille de route complète d’implémentation pour la suite du projet: </a:t>
            </a:r>
          </a:p>
          <a:p>
            <a:pPr marL="108000" lvl="1" indent="0">
              <a:buClr>
                <a:schemeClr val="tx2">
                  <a:lumMod val="100000"/>
                </a:schemeClr>
              </a:buClr>
              <a:buSzPct val="100000"/>
              <a:buNone/>
            </a:pPr>
            <a:endParaRPr lang="fr-FR" sz="1600" dirty="0">
              <a:solidFill>
                <a:schemeClr val="tx1">
                  <a:lumMod val="100000"/>
                </a:schemeClr>
              </a:solidFill>
            </a:endParaRPr>
          </a:p>
          <a:p>
            <a:pPr lvl="1">
              <a:buClr>
                <a:schemeClr val="tx2">
                  <a:lumMod val="100000"/>
                </a:schemeClr>
              </a:buClr>
              <a:buSzPct val="100000"/>
            </a:pPr>
            <a:r>
              <a:rPr lang="fr-FR" sz="1600" dirty="0">
                <a:solidFill>
                  <a:schemeClr val="tx1">
                    <a:lumMod val="100000"/>
                  </a:schemeClr>
                </a:solidFill>
                <a:latin typeface="Trebuchet MS" panose="020B0703020202090204" pitchFamily="34" charset="0"/>
              </a:rPr>
              <a:t>Définition des (autres) modèles à construire pour finaliser l’optimisation du processus de livraison de </a:t>
            </a:r>
            <a:r>
              <a:rPr lang="fr-FR" sz="1600" dirty="0" err="1">
                <a:solidFill>
                  <a:schemeClr val="tx1">
                    <a:lumMod val="100000"/>
                  </a:schemeClr>
                </a:solidFill>
                <a:latin typeface="Trebuchet MS" panose="020B0703020202090204" pitchFamily="34" charset="0"/>
              </a:rPr>
              <a:t>LivraisonCo</a:t>
            </a:r>
            <a:r>
              <a:rPr lang="fr-FR" sz="1600" dirty="0">
                <a:solidFill>
                  <a:schemeClr val="tx1">
                    <a:lumMod val="100000"/>
                  </a:schemeClr>
                </a:solidFill>
                <a:latin typeface="Trebuchet MS" panose="020B0703020202090204" pitchFamily="34" charset="0"/>
              </a:rPr>
              <a:t> (variables à prédire/optimiser, algorithmes à tester…)</a:t>
            </a:r>
          </a:p>
          <a:p>
            <a:pPr lvl="1">
              <a:buClr>
                <a:schemeClr val="tx2">
                  <a:lumMod val="100000"/>
                </a:schemeClr>
              </a:buClr>
              <a:buSzPct val="100000"/>
            </a:pPr>
            <a:r>
              <a:rPr lang="fr-FR" sz="1600" dirty="0">
                <a:solidFill>
                  <a:schemeClr val="tx1">
                    <a:lumMod val="100000"/>
                  </a:schemeClr>
                </a:solidFill>
                <a:latin typeface="Trebuchet MS" panose="020B0703020202090204" pitchFamily="34" charset="0"/>
              </a:rPr>
              <a:t>Données à collecter</a:t>
            </a:r>
          </a:p>
          <a:p>
            <a:pPr lvl="1">
              <a:buClr>
                <a:schemeClr val="tx2">
                  <a:lumMod val="100000"/>
                </a:schemeClr>
              </a:buClr>
              <a:buSzPct val="100000"/>
            </a:pPr>
            <a:r>
              <a:rPr lang="fr-FR" sz="1600" dirty="0" err="1">
                <a:solidFill>
                  <a:schemeClr val="tx1">
                    <a:lumMod val="100000"/>
                  </a:schemeClr>
                </a:solidFill>
                <a:latin typeface="Trebuchet MS" panose="020B0703020202090204" pitchFamily="34" charset="0"/>
              </a:rPr>
              <a:t>Timeline</a:t>
            </a:r>
            <a:r>
              <a:rPr lang="fr-FR" sz="1600" dirty="0">
                <a:solidFill>
                  <a:schemeClr val="tx1">
                    <a:lumMod val="100000"/>
                  </a:schemeClr>
                </a:solidFill>
                <a:latin typeface="Trebuchet MS" panose="020B0703020202090204" pitchFamily="34" charset="0"/>
              </a:rPr>
              <a:t> </a:t>
            </a:r>
          </a:p>
          <a:p>
            <a:pPr lvl="1">
              <a:buClr>
                <a:schemeClr val="tx2">
                  <a:lumMod val="100000"/>
                </a:schemeClr>
              </a:buClr>
              <a:buSzPct val="100000"/>
            </a:pPr>
            <a:r>
              <a:rPr lang="fr-FR" sz="1600" dirty="0">
                <a:solidFill>
                  <a:schemeClr val="tx1">
                    <a:lumMod val="100000"/>
                  </a:schemeClr>
                </a:solidFill>
                <a:latin typeface="Trebuchet MS" panose="020B0703020202090204" pitchFamily="34" charset="0"/>
              </a:rPr>
              <a:t>…</a:t>
            </a:r>
          </a:p>
          <a:p>
            <a:pPr marL="108000" lvl="1" indent="0">
              <a:buClr>
                <a:schemeClr val="tx2">
                  <a:lumMod val="100000"/>
                </a:schemeClr>
              </a:buClr>
              <a:buSzPct val="100000"/>
              <a:buNone/>
            </a:pPr>
            <a:endParaRPr lang="fr-FR" sz="1600" dirty="0">
              <a:solidFill>
                <a:schemeClr val="tx1">
                  <a:lumMod val="100000"/>
                </a:schemeClr>
              </a:solidFill>
            </a:endParaRPr>
          </a:p>
        </p:txBody>
      </p:sp>
    </p:spTree>
    <p:extLst>
      <p:ext uri="{BB962C8B-B14F-4D97-AF65-F5344CB8AC3E}">
        <p14:creationId xmlns:p14="http://schemas.microsoft.com/office/powerpoint/2010/main" val="4120782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6107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182" name="think-cell Slide" r:id="rId7" imgW="360" imgH="360" progId="TCLayout.ActiveDocument.1">
                  <p:embed/>
                </p:oleObj>
              </mc:Choice>
              <mc:Fallback>
                <p:oleObj name="think-cell Slide" r:id="rId7" imgW="360" imgH="360"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3" name="Title 2"/>
          <p:cNvSpPr>
            <a:spLocks noGrp="1"/>
          </p:cNvSpPr>
          <p:nvPr>
            <p:ph type="title"/>
          </p:nvPr>
        </p:nvSpPr>
        <p:spPr>
          <a:xfrm>
            <a:off x="630000" y="622800"/>
            <a:ext cx="10933200" cy="470898"/>
          </a:xfrm>
        </p:spPr>
        <p:txBody>
          <a:bodyPr vert="horz"/>
          <a:lstStyle/>
          <a:p>
            <a:r>
              <a:rPr lang="fr-FR" dirty="0" err="1"/>
              <a:t>Récap</a:t>
            </a:r>
            <a:r>
              <a:rPr lang="fr-FR" dirty="0"/>
              <a:t>: livrables attendus (avant le 11 </a:t>
            </a:r>
            <a:r>
              <a:rPr lang="fr-FR" dirty="0" err="1"/>
              <a:t>déc</a:t>
            </a:r>
            <a:r>
              <a:rPr lang="fr-FR" dirty="0"/>
              <a:t> 20h)</a:t>
            </a:r>
          </a:p>
        </p:txBody>
      </p:sp>
      <p:sp>
        <p:nvSpPr>
          <p:cNvPr id="6" name="ee4pHeader1">
            <a:extLst>
              <a:ext uri="{FF2B5EF4-FFF2-40B4-BE49-F238E27FC236}">
                <a16:creationId xmlns:a16="http://schemas.microsoft.com/office/drawing/2014/main" id="{0352BCED-6C4C-784C-B9C2-C43254D68B28}"/>
              </a:ext>
            </a:extLst>
          </p:cNvPr>
          <p:cNvSpPr txBox="1"/>
          <p:nvPr/>
        </p:nvSpPr>
        <p:spPr>
          <a:xfrm>
            <a:off x="628801" y="1223400"/>
            <a:ext cx="4995640" cy="658368"/>
          </a:xfrm>
          <a:prstGeom prst="rect">
            <a:avLst/>
          </a:prstGeom>
          <a:noFill/>
          <a:ln cap="rnd">
            <a:noFill/>
          </a:ln>
        </p:spPr>
        <p:txBody>
          <a:bodyPr wrap="square" lIns="0" tIns="0" rIns="0" bIns="0" rtlCol="0" anchor="b" anchorCtr="0">
            <a:noAutofit/>
          </a:bodyPr>
          <a:lstStyle/>
          <a:p>
            <a:pPr marL="0" lvl="3"/>
            <a:r>
              <a:rPr lang="fr-FR" sz="2400" dirty="0">
                <a:solidFill>
                  <a:schemeClr val="tx2"/>
                </a:solidFill>
              </a:rPr>
              <a:t>Livrable 1: Prédiction du trafic</a:t>
            </a:r>
          </a:p>
        </p:txBody>
      </p:sp>
      <p:sp>
        <p:nvSpPr>
          <p:cNvPr id="10" name="ee4pContent1">
            <a:extLst>
              <a:ext uri="{FF2B5EF4-FFF2-40B4-BE49-F238E27FC236}">
                <a16:creationId xmlns:a16="http://schemas.microsoft.com/office/drawing/2014/main" id="{212AE10A-EB79-7A4C-A225-BB3E011F44A7}"/>
              </a:ext>
            </a:extLst>
          </p:cNvPr>
          <p:cNvSpPr txBox="1"/>
          <p:nvPr/>
        </p:nvSpPr>
        <p:spPr>
          <a:xfrm>
            <a:off x="545318" y="1961836"/>
            <a:ext cx="4995640" cy="221599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76225" lvl="1" indent="-225425">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Deux variables à prédire: le taux d’occupation horaire et le débit horaire</a:t>
            </a:r>
          </a:p>
          <a:p>
            <a:pPr marL="276225" lvl="1" indent="-225425">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Pour trois arcs routiers: Les Champs Elysées, la rue des Saints Pères, la rue de la Convention</a:t>
            </a:r>
            <a:endParaRPr lang="fr-FR" sz="1600" dirty="0">
              <a:solidFill>
                <a:schemeClr val="tx1">
                  <a:lumMod val="100000"/>
                </a:schemeClr>
              </a:solidFill>
            </a:endParaRPr>
          </a:p>
          <a:p>
            <a:pPr marL="276225" lvl="1" indent="-225425">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Du 11 déc. au 16 déc. 2020 (nous vous conseillons de télécharger les dernières données disponibles)</a:t>
            </a:r>
          </a:p>
          <a:p>
            <a:pPr marL="276225" lvl="1" indent="-225425">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A nous envoyer: un fichier csv contenant vos prédictions au format ci-dessous + un notebook ou repo permettant de générer les prédictions</a:t>
            </a:r>
          </a:p>
        </p:txBody>
      </p:sp>
      <p:grpSp>
        <p:nvGrpSpPr>
          <p:cNvPr id="11" name="Group 10">
            <a:extLst>
              <a:ext uri="{FF2B5EF4-FFF2-40B4-BE49-F238E27FC236}">
                <a16:creationId xmlns:a16="http://schemas.microsoft.com/office/drawing/2014/main" id="{BEC5F7B1-3DD9-EC47-8026-BAF5D25487F8}"/>
              </a:ext>
            </a:extLst>
          </p:cNvPr>
          <p:cNvGrpSpPr>
            <a:grpSpLocks noChangeAspect="1"/>
          </p:cNvGrpSpPr>
          <p:nvPr/>
        </p:nvGrpSpPr>
        <p:grpSpPr>
          <a:xfrm>
            <a:off x="2478401" y="4671087"/>
            <a:ext cx="806208" cy="806954"/>
            <a:chOff x="5273801" y="2606040"/>
            <a:chExt cx="1644396" cy="1645920"/>
          </a:xfrm>
        </p:grpSpPr>
        <p:sp>
          <p:nvSpPr>
            <p:cNvPr id="12" name="AutoShape 33">
              <a:extLst>
                <a:ext uri="{FF2B5EF4-FFF2-40B4-BE49-F238E27FC236}">
                  <a16:creationId xmlns:a16="http://schemas.microsoft.com/office/drawing/2014/main" id="{991AD4ED-B359-9D4A-8068-630E2B33409D}"/>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3" name="Group 12">
              <a:extLst>
                <a:ext uri="{FF2B5EF4-FFF2-40B4-BE49-F238E27FC236}">
                  <a16:creationId xmlns:a16="http://schemas.microsoft.com/office/drawing/2014/main" id="{1E39A280-1082-0143-97D2-975A809DC477}"/>
                </a:ext>
              </a:extLst>
            </p:cNvPr>
            <p:cNvGrpSpPr/>
            <p:nvPr/>
          </p:nvGrpSpPr>
          <p:grpSpPr>
            <a:xfrm>
              <a:off x="5445632" y="2775204"/>
              <a:ext cx="1301877" cy="1306068"/>
              <a:chOff x="5445632" y="2775204"/>
              <a:chExt cx="1301877" cy="1306068"/>
            </a:xfrm>
          </p:grpSpPr>
          <p:sp>
            <p:nvSpPr>
              <p:cNvPr id="14" name="Freeform 35">
                <a:extLst>
                  <a:ext uri="{FF2B5EF4-FFF2-40B4-BE49-F238E27FC236}">
                    <a16:creationId xmlns:a16="http://schemas.microsoft.com/office/drawing/2014/main" id="{3E4D8C95-BCB1-A047-A531-A8AF720CB10A}"/>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36">
                <a:extLst>
                  <a:ext uri="{FF2B5EF4-FFF2-40B4-BE49-F238E27FC236}">
                    <a16:creationId xmlns:a16="http://schemas.microsoft.com/office/drawing/2014/main" id="{7710B9D3-A7A9-904A-9C40-43AA4B57B8E7}"/>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aphicFrame>
        <p:nvGraphicFramePr>
          <p:cNvPr id="21" name="chart_line_1perpage_marker">
            <a:extLst>
              <a:ext uri="{FF2B5EF4-FFF2-40B4-BE49-F238E27FC236}">
                <a16:creationId xmlns:a16="http://schemas.microsoft.com/office/drawing/2014/main" id="{4A390023-7EB4-8049-A1C3-10F1C02C949B}"/>
              </a:ext>
            </a:extLst>
          </p:cNvPr>
          <p:cNvGraphicFramePr/>
          <p:nvPr>
            <p:custDataLst>
              <p:tags r:id="rId4"/>
            </p:custDataLst>
            <p:extLst>
              <p:ext uri="{D42A27DB-BD31-4B8C-83A1-F6EECF244321}">
                <p14:modId xmlns:p14="http://schemas.microsoft.com/office/powerpoint/2010/main" val="2960475836"/>
              </p:ext>
            </p:extLst>
          </p:nvPr>
        </p:nvGraphicFramePr>
        <p:xfrm>
          <a:off x="3858161" y="4651017"/>
          <a:ext cx="1257870" cy="959656"/>
        </p:xfrm>
        <a:graphic>
          <a:graphicData uri="http://schemas.openxmlformats.org/drawingml/2006/chart">
            <c:chart xmlns:c="http://schemas.openxmlformats.org/drawingml/2006/chart" xmlns:r="http://schemas.openxmlformats.org/officeDocument/2006/relationships" r:id="rId9"/>
          </a:graphicData>
        </a:graphic>
      </p:graphicFrame>
      <p:grpSp>
        <p:nvGrpSpPr>
          <p:cNvPr id="25" name="Group 24">
            <a:extLst>
              <a:ext uri="{FF2B5EF4-FFF2-40B4-BE49-F238E27FC236}">
                <a16:creationId xmlns:a16="http://schemas.microsoft.com/office/drawing/2014/main" id="{FB88964D-8208-5543-8A34-60D699728D81}"/>
              </a:ext>
            </a:extLst>
          </p:cNvPr>
          <p:cNvGrpSpPr>
            <a:grpSpLocks noChangeAspect="1"/>
          </p:cNvGrpSpPr>
          <p:nvPr/>
        </p:nvGrpSpPr>
        <p:grpSpPr>
          <a:xfrm>
            <a:off x="3452990" y="4949035"/>
            <a:ext cx="209624" cy="209624"/>
            <a:chOff x="982662" y="1847850"/>
            <a:chExt cx="269875" cy="269875"/>
          </a:xfrm>
        </p:grpSpPr>
        <p:sp>
          <p:nvSpPr>
            <p:cNvPr id="26" name="Oval 50">
              <a:extLst>
                <a:ext uri="{FF2B5EF4-FFF2-40B4-BE49-F238E27FC236}">
                  <a16:creationId xmlns:a16="http://schemas.microsoft.com/office/drawing/2014/main" id="{5D2C4252-37CB-C949-8161-61E1100A5104}"/>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7" name="Freeform 51">
              <a:extLst>
                <a:ext uri="{FF2B5EF4-FFF2-40B4-BE49-F238E27FC236}">
                  <a16:creationId xmlns:a16="http://schemas.microsoft.com/office/drawing/2014/main" id="{F0C7C767-B285-2549-BCFE-F8F3B7134C3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a:extLst>
              <a:ext uri="{FF2B5EF4-FFF2-40B4-BE49-F238E27FC236}">
                <a16:creationId xmlns:a16="http://schemas.microsoft.com/office/drawing/2014/main" id="{2B960524-2174-7643-89E9-8E62AFCAC5E1}"/>
              </a:ext>
            </a:extLst>
          </p:cNvPr>
          <p:cNvGrpSpPr>
            <a:grpSpLocks noChangeAspect="1"/>
          </p:cNvGrpSpPr>
          <p:nvPr/>
        </p:nvGrpSpPr>
        <p:grpSpPr>
          <a:xfrm>
            <a:off x="2200055" y="4953409"/>
            <a:ext cx="209624" cy="209624"/>
            <a:chOff x="982662" y="1847850"/>
            <a:chExt cx="269875" cy="269875"/>
          </a:xfrm>
        </p:grpSpPr>
        <p:sp>
          <p:nvSpPr>
            <p:cNvPr id="30" name="Oval 50">
              <a:extLst>
                <a:ext uri="{FF2B5EF4-FFF2-40B4-BE49-F238E27FC236}">
                  <a16:creationId xmlns:a16="http://schemas.microsoft.com/office/drawing/2014/main" id="{1C2FA1E8-48D0-5243-B528-2036E08D85EA}"/>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1" name="Freeform 51">
              <a:extLst>
                <a:ext uri="{FF2B5EF4-FFF2-40B4-BE49-F238E27FC236}">
                  <a16:creationId xmlns:a16="http://schemas.microsoft.com/office/drawing/2014/main" id="{5EB14106-C55F-7349-8948-1C6F3AFF3570}"/>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4" name="Group 43">
            <a:extLst>
              <a:ext uri="{FF2B5EF4-FFF2-40B4-BE49-F238E27FC236}">
                <a16:creationId xmlns:a16="http://schemas.microsoft.com/office/drawing/2014/main" id="{32F8535B-2FFB-8A40-A2B6-7F098F65B505}"/>
              </a:ext>
            </a:extLst>
          </p:cNvPr>
          <p:cNvGrpSpPr/>
          <p:nvPr/>
        </p:nvGrpSpPr>
        <p:grpSpPr>
          <a:xfrm>
            <a:off x="841969" y="4560057"/>
            <a:ext cx="1261232" cy="989822"/>
            <a:chOff x="5546226" y="3079619"/>
            <a:chExt cx="1376795" cy="1209439"/>
          </a:xfrm>
        </p:grpSpPr>
        <p:grpSp>
          <p:nvGrpSpPr>
            <p:cNvPr id="5" name="Group 4">
              <a:extLst>
                <a:ext uri="{FF2B5EF4-FFF2-40B4-BE49-F238E27FC236}">
                  <a16:creationId xmlns:a16="http://schemas.microsoft.com/office/drawing/2014/main" id="{09B503E6-8EE5-D441-AEDC-AB4C7C700289}"/>
                </a:ext>
              </a:extLst>
            </p:cNvPr>
            <p:cNvGrpSpPr/>
            <p:nvPr/>
          </p:nvGrpSpPr>
          <p:grpSpPr>
            <a:xfrm>
              <a:off x="6611053" y="3079619"/>
              <a:ext cx="311968" cy="1209439"/>
              <a:chOff x="6713795" y="3079619"/>
              <a:chExt cx="311968" cy="1209439"/>
            </a:xfrm>
          </p:grpSpPr>
          <p:grpSp>
            <p:nvGrpSpPr>
              <p:cNvPr id="32" name="bcgBugs_Database">
                <a:extLst>
                  <a:ext uri="{FF2B5EF4-FFF2-40B4-BE49-F238E27FC236}">
                    <a16:creationId xmlns:a16="http://schemas.microsoft.com/office/drawing/2014/main" id="{20F0DF89-62FE-9E45-AAB6-EE00371440F8}"/>
                  </a:ext>
                </a:extLst>
              </p:cNvPr>
              <p:cNvGrpSpPr>
                <a:grpSpLocks noChangeAspect="1"/>
              </p:cNvGrpSpPr>
              <p:nvPr/>
            </p:nvGrpSpPr>
            <p:grpSpPr bwMode="auto">
              <a:xfrm>
                <a:off x="6713795" y="3079619"/>
                <a:ext cx="311968" cy="312274"/>
                <a:chOff x="2818" y="1137"/>
                <a:chExt cx="2044" cy="2046"/>
              </a:xfrm>
            </p:grpSpPr>
            <p:sp>
              <p:nvSpPr>
                <p:cNvPr id="33" name="AutoShape 3">
                  <a:extLst>
                    <a:ext uri="{FF2B5EF4-FFF2-40B4-BE49-F238E27FC236}">
                      <a16:creationId xmlns:a16="http://schemas.microsoft.com/office/drawing/2014/main" id="{9956ECB4-23BF-3C45-A2C7-6096EAB84D3E}"/>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5">
                  <a:extLst>
                    <a:ext uri="{FF2B5EF4-FFF2-40B4-BE49-F238E27FC236}">
                      <a16:creationId xmlns:a16="http://schemas.microsoft.com/office/drawing/2014/main" id="{C6F300BF-E9EF-FC46-9369-811D8D9C423E}"/>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 name="bcgBugs_Database">
                <a:extLst>
                  <a:ext uri="{FF2B5EF4-FFF2-40B4-BE49-F238E27FC236}">
                    <a16:creationId xmlns:a16="http://schemas.microsoft.com/office/drawing/2014/main" id="{E78418CC-D311-364A-BC52-341683B8816E}"/>
                  </a:ext>
                </a:extLst>
              </p:cNvPr>
              <p:cNvGrpSpPr>
                <a:grpSpLocks noChangeAspect="1"/>
              </p:cNvGrpSpPr>
              <p:nvPr/>
            </p:nvGrpSpPr>
            <p:grpSpPr bwMode="auto">
              <a:xfrm>
                <a:off x="6713795" y="3534297"/>
                <a:ext cx="311968" cy="312274"/>
                <a:chOff x="2818" y="1137"/>
                <a:chExt cx="2044" cy="2046"/>
              </a:xfrm>
            </p:grpSpPr>
            <p:sp>
              <p:nvSpPr>
                <p:cNvPr id="36" name="AutoShape 3">
                  <a:extLst>
                    <a:ext uri="{FF2B5EF4-FFF2-40B4-BE49-F238E27FC236}">
                      <a16:creationId xmlns:a16="http://schemas.microsoft.com/office/drawing/2014/main" id="{F394932B-5692-6441-98F5-56AAE5D49CE1}"/>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5">
                  <a:extLst>
                    <a:ext uri="{FF2B5EF4-FFF2-40B4-BE49-F238E27FC236}">
                      <a16:creationId xmlns:a16="http://schemas.microsoft.com/office/drawing/2014/main" id="{E501F1BB-0B7E-8944-9F92-879638C8AB4A}"/>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Bugs_Database">
                <a:extLst>
                  <a:ext uri="{FF2B5EF4-FFF2-40B4-BE49-F238E27FC236}">
                    <a16:creationId xmlns:a16="http://schemas.microsoft.com/office/drawing/2014/main" id="{6E4446D5-B243-6C4F-869A-50FC2CD91C4E}"/>
                  </a:ext>
                </a:extLst>
              </p:cNvPr>
              <p:cNvGrpSpPr>
                <a:grpSpLocks noChangeAspect="1"/>
              </p:cNvGrpSpPr>
              <p:nvPr/>
            </p:nvGrpSpPr>
            <p:grpSpPr bwMode="auto">
              <a:xfrm>
                <a:off x="6713795" y="3976784"/>
                <a:ext cx="311968" cy="312274"/>
                <a:chOff x="2818" y="1137"/>
                <a:chExt cx="2044" cy="2046"/>
              </a:xfrm>
            </p:grpSpPr>
            <p:sp>
              <p:nvSpPr>
                <p:cNvPr id="39" name="AutoShape 3">
                  <a:extLst>
                    <a:ext uri="{FF2B5EF4-FFF2-40B4-BE49-F238E27FC236}">
                      <a16:creationId xmlns:a16="http://schemas.microsoft.com/office/drawing/2014/main" id="{95C7A624-5F7A-F44E-8D90-A4B3B1B39BD0}"/>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5">
                  <a:extLst>
                    <a:ext uri="{FF2B5EF4-FFF2-40B4-BE49-F238E27FC236}">
                      <a16:creationId xmlns:a16="http://schemas.microsoft.com/office/drawing/2014/main" id="{9A0B5316-979A-454D-BE86-1E2584713796}"/>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1" name="TextBox 40">
              <a:extLst>
                <a:ext uri="{FF2B5EF4-FFF2-40B4-BE49-F238E27FC236}">
                  <a16:creationId xmlns:a16="http://schemas.microsoft.com/office/drawing/2014/main" id="{683B8218-F062-0F49-A178-09F4BBC86CF3}"/>
                </a:ext>
              </a:extLst>
            </p:cNvPr>
            <p:cNvSpPr txBox="1"/>
            <p:nvPr/>
          </p:nvSpPr>
          <p:spPr>
            <a:xfrm>
              <a:off x="5655360" y="3081030"/>
              <a:ext cx="837907" cy="3122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rgbClr val="575757"/>
                  </a:solidFill>
                </a:rPr>
                <a:t>D</a:t>
              </a:r>
              <a:r>
                <a:rPr lang="en-FR" sz="1000" dirty="0">
                  <a:solidFill>
                    <a:srgbClr val="575757"/>
                  </a:solidFill>
                </a:rPr>
                <a:t>onnées routières</a:t>
              </a:r>
            </a:p>
          </p:txBody>
        </p:sp>
        <p:sp>
          <p:nvSpPr>
            <p:cNvPr id="42" name="TextBox 41">
              <a:extLst>
                <a:ext uri="{FF2B5EF4-FFF2-40B4-BE49-F238E27FC236}">
                  <a16:creationId xmlns:a16="http://schemas.microsoft.com/office/drawing/2014/main" id="{90B8FD4C-5796-2147-AAED-2D3F4E4C7602}"/>
                </a:ext>
              </a:extLst>
            </p:cNvPr>
            <p:cNvSpPr txBox="1"/>
            <p:nvPr/>
          </p:nvSpPr>
          <p:spPr>
            <a:xfrm>
              <a:off x="5546226" y="3768523"/>
              <a:ext cx="817144" cy="3122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dirty="0">
                  <a:solidFill>
                    <a:srgbClr val="575757"/>
                  </a:solidFill>
                </a:rPr>
                <a:t>D</a:t>
              </a:r>
              <a:r>
                <a:rPr lang="en-FR" sz="1000" dirty="0">
                  <a:solidFill>
                    <a:srgbClr val="575757"/>
                  </a:solidFill>
                </a:rPr>
                <a:t>onnées externes</a:t>
              </a:r>
            </a:p>
          </p:txBody>
        </p:sp>
        <p:sp>
          <p:nvSpPr>
            <p:cNvPr id="43" name="Left Brace 42">
              <a:extLst>
                <a:ext uri="{FF2B5EF4-FFF2-40B4-BE49-F238E27FC236}">
                  <a16:creationId xmlns:a16="http://schemas.microsoft.com/office/drawing/2014/main" id="{7D439511-9B09-BA42-864E-6BC45815A7C4}"/>
                </a:ext>
              </a:extLst>
            </p:cNvPr>
            <p:cNvSpPr/>
            <p:nvPr/>
          </p:nvSpPr>
          <p:spPr>
            <a:xfrm>
              <a:off x="6363370" y="3534297"/>
              <a:ext cx="204190" cy="727668"/>
            </a:xfrm>
            <a:prstGeom prst="leftBrac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FR"/>
            </a:p>
          </p:txBody>
        </p:sp>
      </p:grpSp>
      <p:sp>
        <p:nvSpPr>
          <p:cNvPr id="45" name="TextBox 44">
            <a:extLst>
              <a:ext uri="{FF2B5EF4-FFF2-40B4-BE49-F238E27FC236}">
                <a16:creationId xmlns:a16="http://schemas.microsoft.com/office/drawing/2014/main" id="{01D1DFE6-7E66-A145-89AB-56718D56C8F1}"/>
              </a:ext>
            </a:extLst>
          </p:cNvPr>
          <p:cNvSpPr txBox="1"/>
          <p:nvPr/>
        </p:nvSpPr>
        <p:spPr>
          <a:xfrm>
            <a:off x="2289170" y="4470474"/>
            <a:ext cx="1184821" cy="2096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FR" sz="1000" b="1" dirty="0">
                <a:solidFill>
                  <a:srgbClr val="575757"/>
                </a:solidFill>
              </a:rPr>
              <a:t>Modèle prédictif</a:t>
            </a:r>
          </a:p>
        </p:txBody>
      </p:sp>
      <p:sp>
        <p:nvSpPr>
          <p:cNvPr id="46" name="TextBox 45">
            <a:extLst>
              <a:ext uri="{FF2B5EF4-FFF2-40B4-BE49-F238E27FC236}">
                <a16:creationId xmlns:a16="http://schemas.microsoft.com/office/drawing/2014/main" id="{25BDFC35-841A-C540-98FE-D13A3F91035E}"/>
              </a:ext>
            </a:extLst>
          </p:cNvPr>
          <p:cNvSpPr txBox="1"/>
          <p:nvPr/>
        </p:nvSpPr>
        <p:spPr>
          <a:xfrm>
            <a:off x="4012082" y="4440286"/>
            <a:ext cx="1184821" cy="2096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FR" sz="1000" b="1" dirty="0">
                <a:solidFill>
                  <a:srgbClr val="575757"/>
                </a:solidFill>
              </a:rPr>
              <a:t>Prédictions</a:t>
            </a:r>
          </a:p>
        </p:txBody>
      </p:sp>
      <p:sp>
        <p:nvSpPr>
          <p:cNvPr id="48" name="Rectangle 47">
            <a:extLst>
              <a:ext uri="{FF2B5EF4-FFF2-40B4-BE49-F238E27FC236}">
                <a16:creationId xmlns:a16="http://schemas.microsoft.com/office/drawing/2014/main" id="{12F8F9BE-2458-5D41-AB6B-41EC93DDE357}"/>
              </a:ext>
            </a:extLst>
          </p:cNvPr>
          <p:cNvSpPr/>
          <p:nvPr/>
        </p:nvSpPr>
        <p:spPr>
          <a:xfrm>
            <a:off x="903915" y="4318586"/>
            <a:ext cx="4292988" cy="2256889"/>
          </a:xfrm>
          <a:prstGeom prst="rect">
            <a:avLst/>
          </a:prstGeom>
          <a:noFill/>
          <a:ln w="15875" cap="rnd" cmpd="sng" algn="ctr">
            <a:solidFill>
              <a:srgbClr val="29BA74"/>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FR" sz="1200" dirty="0">
              <a:solidFill>
                <a:srgbClr val="FFFFFF"/>
              </a:solidFill>
            </a:endParaRPr>
          </a:p>
        </p:txBody>
      </p:sp>
      <p:pic>
        <p:nvPicPr>
          <p:cNvPr id="9" name="Picture 8">
            <a:extLst>
              <a:ext uri="{FF2B5EF4-FFF2-40B4-BE49-F238E27FC236}">
                <a16:creationId xmlns:a16="http://schemas.microsoft.com/office/drawing/2014/main" id="{DD22A158-A35F-B04D-B844-3DFEBA063210}"/>
              </a:ext>
            </a:extLst>
          </p:cNvPr>
          <p:cNvPicPr>
            <a:picLocks noChangeAspect="1"/>
          </p:cNvPicPr>
          <p:nvPr/>
        </p:nvPicPr>
        <p:blipFill>
          <a:blip r:embed="rId10"/>
          <a:stretch>
            <a:fillRect/>
          </a:stretch>
        </p:blipFill>
        <p:spPr>
          <a:xfrm>
            <a:off x="1472746" y="5591274"/>
            <a:ext cx="3120960" cy="860954"/>
          </a:xfrm>
          <a:prstGeom prst="rect">
            <a:avLst/>
          </a:prstGeom>
        </p:spPr>
      </p:pic>
      <p:sp>
        <p:nvSpPr>
          <p:cNvPr id="47" name="TextBox 46">
            <a:extLst>
              <a:ext uri="{FF2B5EF4-FFF2-40B4-BE49-F238E27FC236}">
                <a16:creationId xmlns:a16="http://schemas.microsoft.com/office/drawing/2014/main" id="{76ED39FF-69FF-4D4C-8AFD-0B4530F7B603}"/>
              </a:ext>
            </a:extLst>
          </p:cNvPr>
          <p:cNvSpPr txBox="1"/>
          <p:nvPr/>
        </p:nvSpPr>
        <p:spPr>
          <a:xfrm>
            <a:off x="960617" y="6612467"/>
            <a:ext cx="4179584" cy="2455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i="1" dirty="0">
                <a:solidFill>
                  <a:srgbClr val="29BA74"/>
                </a:solidFill>
              </a:rPr>
              <a:t>Format</a:t>
            </a:r>
          </a:p>
        </p:txBody>
      </p:sp>
      <p:sp>
        <p:nvSpPr>
          <p:cNvPr id="54" name="ee4pHeader2">
            <a:extLst>
              <a:ext uri="{FF2B5EF4-FFF2-40B4-BE49-F238E27FC236}">
                <a16:creationId xmlns:a16="http://schemas.microsoft.com/office/drawing/2014/main" id="{05B52235-4B21-1A4A-996F-2883123147BE}"/>
              </a:ext>
            </a:extLst>
          </p:cNvPr>
          <p:cNvSpPr txBox="1"/>
          <p:nvPr/>
        </p:nvSpPr>
        <p:spPr>
          <a:xfrm>
            <a:off x="6567560" y="1122168"/>
            <a:ext cx="4995640" cy="759600"/>
          </a:xfrm>
          <a:prstGeom prst="rect">
            <a:avLst/>
          </a:prstGeom>
          <a:noFill/>
          <a:ln cap="rnd">
            <a:noFill/>
          </a:ln>
        </p:spPr>
        <p:txBody>
          <a:bodyPr wrap="square" lIns="0" tIns="0" rIns="0" bIns="0" rtlCol="0" anchor="b">
            <a:noAutofit/>
          </a:bodyPr>
          <a:lstStyle/>
          <a:p>
            <a:pPr marL="0" lvl="3"/>
            <a:r>
              <a:rPr lang="fr-BE" sz="2400" dirty="0">
                <a:solidFill>
                  <a:schemeClr val="tx2"/>
                </a:solidFill>
              </a:rPr>
              <a:t>Livrable 2: Présentation</a:t>
            </a:r>
          </a:p>
        </p:txBody>
      </p:sp>
      <p:sp>
        <p:nvSpPr>
          <p:cNvPr id="56" name="ee4pContent2">
            <a:extLst>
              <a:ext uri="{FF2B5EF4-FFF2-40B4-BE49-F238E27FC236}">
                <a16:creationId xmlns:a16="http://schemas.microsoft.com/office/drawing/2014/main" id="{BA4E65FA-571E-DC4A-A234-759D1DCC88E6}"/>
              </a:ext>
            </a:extLst>
          </p:cNvPr>
          <p:cNvSpPr txBox="1"/>
          <p:nvPr/>
        </p:nvSpPr>
        <p:spPr>
          <a:xfrm>
            <a:off x="6567560" y="1961836"/>
            <a:ext cx="499564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Clr>
                <a:schemeClr val="tx2">
                  <a:lumMod val="100000"/>
                </a:schemeClr>
              </a:buClr>
              <a:buSzPct val="100000"/>
              <a:buNone/>
            </a:pPr>
            <a:r>
              <a:rPr lang="fr-FR" sz="1600" dirty="0">
                <a:solidFill>
                  <a:schemeClr val="tx1">
                    <a:lumMod val="100000"/>
                  </a:schemeClr>
                </a:solidFill>
              </a:rPr>
              <a:t>Une présentation de 7 planches + annexes à présenter en 15 min contenant:</a:t>
            </a:r>
          </a:p>
          <a:p>
            <a:pPr marL="400050" lvl="1" indent="-217488">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Description de l’approche et résultats du livrable 1 (</a:t>
            </a:r>
            <a:r>
              <a:rPr lang="fr-FR" sz="1600" dirty="0" err="1">
                <a:solidFill>
                  <a:schemeClr val="tx1">
                    <a:lumMod val="100000"/>
                  </a:schemeClr>
                </a:solidFill>
                <a:latin typeface="Trebuchet MS" panose="020B0703020202090204" pitchFamily="34" charset="0"/>
              </a:rPr>
              <a:t>e.g</a:t>
            </a:r>
            <a:r>
              <a:rPr lang="fr-FR" sz="1600" dirty="0">
                <a:solidFill>
                  <a:schemeClr val="tx1">
                    <a:lumMod val="100000"/>
                  </a:schemeClr>
                </a:solidFill>
                <a:latin typeface="Trebuchet MS" panose="020B0703020202090204" pitchFamily="34" charset="0"/>
              </a:rPr>
              <a:t>. validation sur données historiques)</a:t>
            </a:r>
          </a:p>
          <a:p>
            <a:pPr marL="400050" lvl="1" indent="-217488">
              <a:buClr>
                <a:schemeClr val="tx2">
                  <a:lumMod val="100000"/>
                </a:schemeClr>
              </a:buClr>
              <a:buSzPct val="100000"/>
              <a:buFont typeface="Trebuchet MS" panose="020B0703020202090204" pitchFamily="34" charset="0"/>
              <a:buChar char="•"/>
            </a:pPr>
            <a:r>
              <a:rPr lang="fr-FR" sz="1600" dirty="0">
                <a:solidFill>
                  <a:schemeClr val="tx1">
                    <a:lumMod val="100000"/>
                  </a:schemeClr>
                </a:solidFill>
              </a:rPr>
              <a:t>Feuille de route d’implémentation pour la suite du projet: </a:t>
            </a:r>
          </a:p>
          <a:p>
            <a:pPr marL="538163" lvl="2" indent="-138113">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Modèles à construire (variables à prédire/optimiser, algorithmes à tester…)</a:t>
            </a:r>
          </a:p>
          <a:p>
            <a:pPr marL="538163" lvl="2" indent="-138113">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Données à collecter</a:t>
            </a:r>
          </a:p>
          <a:p>
            <a:pPr marL="538163" lvl="2" indent="-138113">
              <a:buClr>
                <a:schemeClr val="tx2">
                  <a:lumMod val="100000"/>
                </a:schemeClr>
              </a:buClr>
              <a:buSzPct val="100000"/>
              <a:buFont typeface="Trebuchet MS" panose="020B0703020202090204" pitchFamily="34" charset="0"/>
              <a:buChar char="–"/>
            </a:pPr>
            <a:r>
              <a:rPr lang="fr-FR" sz="1600" dirty="0" err="1">
                <a:solidFill>
                  <a:schemeClr val="tx1">
                    <a:lumMod val="100000"/>
                  </a:schemeClr>
                </a:solidFill>
                <a:latin typeface="Trebuchet MS" panose="020B0703020202090204" pitchFamily="34" charset="0"/>
              </a:rPr>
              <a:t>Timeline</a:t>
            </a:r>
            <a:r>
              <a:rPr lang="fr-FR" sz="1600" dirty="0">
                <a:solidFill>
                  <a:schemeClr val="tx1">
                    <a:lumMod val="100000"/>
                  </a:schemeClr>
                </a:solidFill>
                <a:latin typeface="Trebuchet MS" panose="020B0703020202090204" pitchFamily="34" charset="0"/>
              </a:rPr>
              <a:t> </a:t>
            </a:r>
          </a:p>
          <a:p>
            <a:pPr marL="538163" lvl="2" indent="-138113">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a:t>
            </a:r>
          </a:p>
        </p:txBody>
      </p:sp>
      <p:sp>
        <p:nvSpPr>
          <p:cNvPr id="7" name="TextBox 6">
            <a:extLst>
              <a:ext uri="{FF2B5EF4-FFF2-40B4-BE49-F238E27FC236}">
                <a16:creationId xmlns:a16="http://schemas.microsoft.com/office/drawing/2014/main" id="{ED257A1F-ED30-B04D-BF38-5DEF9505E873}"/>
              </a:ext>
            </a:extLst>
          </p:cNvPr>
          <p:cNvSpPr txBox="1"/>
          <p:nvPr/>
        </p:nvSpPr>
        <p:spPr>
          <a:xfrm>
            <a:off x="5801989" y="296168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448678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99F3B6-08E4-3345-95DA-29EA5854B6C3}"/>
              </a:ext>
            </a:extLst>
          </p:cNvPr>
          <p:cNvGraphicFramePr>
            <a:graphicFrameLocks noChangeAspect="1"/>
          </p:cNvGraphicFramePr>
          <p:nvPr>
            <p:custDataLst>
              <p:tags r:id="rId2"/>
            </p:custDataLst>
            <p:extLst>
              <p:ext uri="{D42A27DB-BD31-4B8C-83A1-F6EECF244321}">
                <p14:modId xmlns:p14="http://schemas.microsoft.com/office/powerpoint/2010/main" val="5162439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862"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6E7C63-8B44-044E-832C-7F46F3AA740A}"/>
              </a:ext>
            </a:extLst>
          </p:cNvPr>
          <p:cNvSpPr>
            <a:spLocks noGrp="1"/>
          </p:cNvSpPr>
          <p:nvPr>
            <p:ph type="title"/>
          </p:nvPr>
        </p:nvSpPr>
        <p:spPr/>
        <p:txBody>
          <a:bodyPr vert="horz"/>
          <a:lstStyle/>
          <a:p>
            <a:r>
              <a:rPr lang="fr-FR" dirty="0"/>
              <a:t>Evaluation de la performance</a:t>
            </a:r>
          </a:p>
        </p:txBody>
      </p:sp>
      <p:sp>
        <p:nvSpPr>
          <p:cNvPr id="6" name="TextBox 5">
            <a:extLst>
              <a:ext uri="{FF2B5EF4-FFF2-40B4-BE49-F238E27FC236}">
                <a16:creationId xmlns:a16="http://schemas.microsoft.com/office/drawing/2014/main" id="{608EB130-AC44-504D-810C-978AD8A5C44E}"/>
              </a:ext>
            </a:extLst>
          </p:cNvPr>
          <p:cNvSpPr txBox="1"/>
          <p:nvPr/>
        </p:nvSpPr>
        <p:spPr>
          <a:xfrm>
            <a:off x="2229492" y="2188399"/>
            <a:ext cx="2157573"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dirty="0">
                <a:solidFill>
                  <a:srgbClr val="29BA74"/>
                </a:solidFill>
              </a:rPr>
              <a:t>Data Science</a:t>
            </a:r>
          </a:p>
        </p:txBody>
      </p:sp>
      <p:sp>
        <p:nvSpPr>
          <p:cNvPr id="7" name="TextBox 6">
            <a:extLst>
              <a:ext uri="{FF2B5EF4-FFF2-40B4-BE49-F238E27FC236}">
                <a16:creationId xmlns:a16="http://schemas.microsoft.com/office/drawing/2014/main" id="{1968790B-B672-5B49-9BF8-98698C01A16A}"/>
              </a:ext>
            </a:extLst>
          </p:cNvPr>
          <p:cNvSpPr txBox="1"/>
          <p:nvPr/>
        </p:nvSpPr>
        <p:spPr>
          <a:xfrm>
            <a:off x="2229492" y="3739796"/>
            <a:ext cx="2157573"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dirty="0">
                <a:solidFill>
                  <a:srgbClr val="29BA74"/>
                </a:solidFill>
              </a:rPr>
              <a:t>Business</a:t>
            </a:r>
          </a:p>
        </p:txBody>
      </p:sp>
      <p:grpSp>
        <p:nvGrpSpPr>
          <p:cNvPr id="8" name="Group 7">
            <a:extLst>
              <a:ext uri="{FF2B5EF4-FFF2-40B4-BE49-F238E27FC236}">
                <a16:creationId xmlns:a16="http://schemas.microsoft.com/office/drawing/2014/main" id="{DF9A454C-A45E-FA4D-8B8D-1C6E0574FF00}"/>
              </a:ext>
            </a:extLst>
          </p:cNvPr>
          <p:cNvGrpSpPr>
            <a:grpSpLocks noChangeAspect="1"/>
          </p:cNvGrpSpPr>
          <p:nvPr/>
        </p:nvGrpSpPr>
        <p:grpSpPr>
          <a:xfrm>
            <a:off x="1051240" y="3625356"/>
            <a:ext cx="886427" cy="886427"/>
            <a:chOff x="5273675" y="2606675"/>
            <a:chExt cx="1644650" cy="1644650"/>
          </a:xfrm>
        </p:grpSpPr>
        <p:sp>
          <p:nvSpPr>
            <p:cNvPr id="9" name="AutoShape 3">
              <a:extLst>
                <a:ext uri="{FF2B5EF4-FFF2-40B4-BE49-F238E27FC236}">
                  <a16:creationId xmlns:a16="http://schemas.microsoft.com/office/drawing/2014/main" id="{778CDE40-D89A-1E4E-802F-2C835C6A223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nvGrpSpPr>
            <p:cNvPr id="10" name="Group 9">
              <a:extLst>
                <a:ext uri="{FF2B5EF4-FFF2-40B4-BE49-F238E27FC236}">
                  <a16:creationId xmlns:a16="http://schemas.microsoft.com/office/drawing/2014/main" id="{8CE25995-FF8C-CD44-949B-5DDA877E5606}"/>
                </a:ext>
              </a:extLst>
            </p:cNvPr>
            <p:cNvGrpSpPr/>
            <p:nvPr/>
          </p:nvGrpSpPr>
          <p:grpSpPr>
            <a:xfrm>
              <a:off x="5443538" y="2855913"/>
              <a:ext cx="1303338" cy="1119187"/>
              <a:chOff x="5443538" y="2855913"/>
              <a:chExt cx="1303338" cy="1119187"/>
            </a:xfrm>
          </p:grpSpPr>
          <p:sp>
            <p:nvSpPr>
              <p:cNvPr id="11" name="Freeform 10">
                <a:extLst>
                  <a:ext uri="{FF2B5EF4-FFF2-40B4-BE49-F238E27FC236}">
                    <a16:creationId xmlns:a16="http://schemas.microsoft.com/office/drawing/2014/main" id="{52567901-9506-4D46-A5B5-7DFEAF550D23}"/>
                  </a:ext>
                </a:extLst>
              </p:cNvPr>
              <p:cNvSpPr>
                <a:spLocks/>
              </p:cNvSpPr>
              <p:nvPr/>
            </p:nvSpPr>
            <p:spPr bwMode="auto">
              <a:xfrm>
                <a:off x="5443538" y="3127374"/>
                <a:ext cx="1303338" cy="847726"/>
              </a:xfrm>
              <a:custGeom>
                <a:avLst/>
                <a:gdLst>
                  <a:gd name="connsiteX0" fmla="*/ 255392 w 1303338"/>
                  <a:gd name="connsiteY0" fmla="*/ 620713 h 847726"/>
                  <a:gd name="connsiteX1" fmla="*/ 239712 w 1303338"/>
                  <a:gd name="connsiteY1" fmla="*/ 636327 h 847726"/>
                  <a:gd name="connsiteX2" fmla="*/ 239712 w 1303338"/>
                  <a:gd name="connsiteY2" fmla="*/ 725750 h 847726"/>
                  <a:gd name="connsiteX3" fmla="*/ 255392 w 1303338"/>
                  <a:gd name="connsiteY3" fmla="*/ 741363 h 847726"/>
                  <a:gd name="connsiteX4" fmla="*/ 1047945 w 1303338"/>
                  <a:gd name="connsiteY4" fmla="*/ 741363 h 847726"/>
                  <a:gd name="connsiteX5" fmla="*/ 1063625 w 1303338"/>
                  <a:gd name="connsiteY5" fmla="*/ 725750 h 847726"/>
                  <a:gd name="connsiteX6" fmla="*/ 1063625 w 1303338"/>
                  <a:gd name="connsiteY6" fmla="*/ 636327 h 847726"/>
                  <a:gd name="connsiteX7" fmla="*/ 1047945 w 1303338"/>
                  <a:gd name="connsiteY7" fmla="*/ 620713 h 847726"/>
                  <a:gd name="connsiteX8" fmla="*/ 255392 w 1303338"/>
                  <a:gd name="connsiteY8" fmla="*/ 620713 h 847726"/>
                  <a:gd name="connsiteX9" fmla="*/ 0 w 1303338"/>
                  <a:gd name="connsiteY9" fmla="*/ 315913 h 847726"/>
                  <a:gd name="connsiteX10" fmla="*/ 15703 w 1303338"/>
                  <a:gd name="connsiteY10" fmla="*/ 315913 h 847726"/>
                  <a:gd name="connsiteX11" fmla="*/ 31406 w 1303338"/>
                  <a:gd name="connsiteY11" fmla="*/ 315913 h 847726"/>
                  <a:gd name="connsiteX12" fmla="*/ 1271932 w 1303338"/>
                  <a:gd name="connsiteY12" fmla="*/ 315913 h 847726"/>
                  <a:gd name="connsiteX13" fmla="*/ 1287635 w 1303338"/>
                  <a:gd name="connsiteY13" fmla="*/ 315913 h 847726"/>
                  <a:gd name="connsiteX14" fmla="*/ 1303338 w 1303338"/>
                  <a:gd name="connsiteY14" fmla="*/ 315913 h 847726"/>
                  <a:gd name="connsiteX15" fmla="*/ 1303338 w 1303338"/>
                  <a:gd name="connsiteY15" fmla="*/ 816948 h 847726"/>
                  <a:gd name="connsiteX16" fmla="*/ 1271932 w 1303338"/>
                  <a:gd name="connsiteY16" fmla="*/ 847726 h 847726"/>
                  <a:gd name="connsiteX17" fmla="*/ 31406 w 1303338"/>
                  <a:gd name="connsiteY17" fmla="*/ 847726 h 847726"/>
                  <a:gd name="connsiteX18" fmla="*/ 0 w 1303338"/>
                  <a:gd name="connsiteY18" fmla="*/ 816948 h 847726"/>
                  <a:gd name="connsiteX19" fmla="*/ 0 w 1303338"/>
                  <a:gd name="connsiteY19" fmla="*/ 315913 h 847726"/>
                  <a:gd name="connsiteX20" fmla="*/ 31406 w 1303338"/>
                  <a:gd name="connsiteY20" fmla="*/ 0 h 847726"/>
                  <a:gd name="connsiteX21" fmla="*/ 279083 w 1303338"/>
                  <a:gd name="connsiteY21" fmla="*/ 0 h 847726"/>
                  <a:gd name="connsiteX22" fmla="*/ 279083 w 1303338"/>
                  <a:gd name="connsiteY22" fmla="*/ 15764 h 847726"/>
                  <a:gd name="connsiteX23" fmla="*/ 279083 w 1303338"/>
                  <a:gd name="connsiteY23" fmla="*/ 31528 h 847726"/>
                  <a:gd name="connsiteX24" fmla="*/ 279083 w 1303338"/>
                  <a:gd name="connsiteY24" fmla="*/ 137578 h 847726"/>
                  <a:gd name="connsiteX25" fmla="*/ 341894 w 1303338"/>
                  <a:gd name="connsiteY25" fmla="*/ 200635 h 847726"/>
                  <a:gd name="connsiteX26" fmla="*/ 343322 w 1303338"/>
                  <a:gd name="connsiteY26" fmla="*/ 200635 h 847726"/>
                  <a:gd name="connsiteX27" fmla="*/ 404706 w 1303338"/>
                  <a:gd name="connsiteY27" fmla="*/ 136145 h 847726"/>
                  <a:gd name="connsiteX28" fmla="*/ 404706 w 1303338"/>
                  <a:gd name="connsiteY28" fmla="*/ 31528 h 847726"/>
                  <a:gd name="connsiteX29" fmla="*/ 404706 w 1303338"/>
                  <a:gd name="connsiteY29" fmla="*/ 15764 h 847726"/>
                  <a:gd name="connsiteX30" fmla="*/ 404706 w 1303338"/>
                  <a:gd name="connsiteY30" fmla="*/ 0 h 847726"/>
                  <a:gd name="connsiteX31" fmla="*/ 898632 w 1303338"/>
                  <a:gd name="connsiteY31" fmla="*/ 0 h 847726"/>
                  <a:gd name="connsiteX32" fmla="*/ 898632 w 1303338"/>
                  <a:gd name="connsiteY32" fmla="*/ 15764 h 847726"/>
                  <a:gd name="connsiteX33" fmla="*/ 898632 w 1303338"/>
                  <a:gd name="connsiteY33" fmla="*/ 31528 h 847726"/>
                  <a:gd name="connsiteX34" fmla="*/ 898632 w 1303338"/>
                  <a:gd name="connsiteY34" fmla="*/ 136145 h 847726"/>
                  <a:gd name="connsiteX35" fmla="*/ 960016 w 1303338"/>
                  <a:gd name="connsiteY35" fmla="*/ 200635 h 847726"/>
                  <a:gd name="connsiteX36" fmla="*/ 961444 w 1303338"/>
                  <a:gd name="connsiteY36" fmla="*/ 200635 h 847726"/>
                  <a:gd name="connsiteX37" fmla="*/ 1024255 w 1303338"/>
                  <a:gd name="connsiteY37" fmla="*/ 137578 h 847726"/>
                  <a:gd name="connsiteX38" fmla="*/ 1024255 w 1303338"/>
                  <a:gd name="connsiteY38" fmla="*/ 31528 h 847726"/>
                  <a:gd name="connsiteX39" fmla="*/ 1024255 w 1303338"/>
                  <a:gd name="connsiteY39" fmla="*/ 15764 h 847726"/>
                  <a:gd name="connsiteX40" fmla="*/ 1024255 w 1303338"/>
                  <a:gd name="connsiteY40" fmla="*/ 0 h 847726"/>
                  <a:gd name="connsiteX41" fmla="*/ 1271932 w 1303338"/>
                  <a:gd name="connsiteY41" fmla="*/ 0 h 847726"/>
                  <a:gd name="connsiteX42" fmla="*/ 1303338 w 1303338"/>
                  <a:gd name="connsiteY42" fmla="*/ 31528 h 847726"/>
                  <a:gd name="connsiteX43" fmla="*/ 1303338 w 1303338"/>
                  <a:gd name="connsiteY43" fmla="*/ 287338 h 847726"/>
                  <a:gd name="connsiteX44" fmla="*/ 1287635 w 1303338"/>
                  <a:gd name="connsiteY44" fmla="*/ 287338 h 847726"/>
                  <a:gd name="connsiteX45" fmla="*/ 1271932 w 1303338"/>
                  <a:gd name="connsiteY45" fmla="*/ 287338 h 847726"/>
                  <a:gd name="connsiteX46" fmla="*/ 31406 w 1303338"/>
                  <a:gd name="connsiteY46" fmla="*/ 287338 h 847726"/>
                  <a:gd name="connsiteX47" fmla="*/ 15703 w 1303338"/>
                  <a:gd name="connsiteY47" fmla="*/ 287338 h 847726"/>
                  <a:gd name="connsiteX48" fmla="*/ 0 w 1303338"/>
                  <a:gd name="connsiteY48" fmla="*/ 287338 h 847726"/>
                  <a:gd name="connsiteX49" fmla="*/ 0 w 1303338"/>
                  <a:gd name="connsiteY49" fmla="*/ 31528 h 847726"/>
                  <a:gd name="connsiteX50" fmla="*/ 31406 w 1303338"/>
                  <a:gd name="connsiteY50" fmla="*/ 0 h 84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03338" h="847726">
                    <a:moveTo>
                      <a:pt x="255392" y="620713"/>
                    </a:moveTo>
                    <a:cubicBezTo>
                      <a:pt x="246127" y="620713"/>
                      <a:pt x="239712" y="627810"/>
                      <a:pt x="239712" y="636327"/>
                    </a:cubicBezTo>
                    <a:cubicBezTo>
                      <a:pt x="239712" y="636327"/>
                      <a:pt x="239712" y="636327"/>
                      <a:pt x="239712" y="725750"/>
                    </a:cubicBezTo>
                    <a:cubicBezTo>
                      <a:pt x="239712" y="734266"/>
                      <a:pt x="246127" y="741363"/>
                      <a:pt x="255392" y="741363"/>
                    </a:cubicBezTo>
                    <a:cubicBezTo>
                      <a:pt x="255392" y="741363"/>
                      <a:pt x="255392" y="741363"/>
                      <a:pt x="1047945" y="741363"/>
                    </a:cubicBezTo>
                    <a:cubicBezTo>
                      <a:pt x="1057211" y="741363"/>
                      <a:pt x="1063625" y="734266"/>
                      <a:pt x="1063625" y="725750"/>
                    </a:cubicBezTo>
                    <a:cubicBezTo>
                      <a:pt x="1063625" y="725750"/>
                      <a:pt x="1063625" y="725750"/>
                      <a:pt x="1063625" y="636327"/>
                    </a:cubicBezTo>
                    <a:cubicBezTo>
                      <a:pt x="1063625" y="627810"/>
                      <a:pt x="1057211" y="620713"/>
                      <a:pt x="1047945" y="620713"/>
                    </a:cubicBezTo>
                    <a:cubicBezTo>
                      <a:pt x="1047945" y="620713"/>
                      <a:pt x="1047945" y="620713"/>
                      <a:pt x="255392" y="620713"/>
                    </a:cubicBezTo>
                    <a:close/>
                    <a:moveTo>
                      <a:pt x="0" y="315913"/>
                    </a:moveTo>
                    <a:cubicBezTo>
                      <a:pt x="0" y="315913"/>
                      <a:pt x="0" y="315913"/>
                      <a:pt x="15703" y="315913"/>
                    </a:cubicBezTo>
                    <a:cubicBezTo>
                      <a:pt x="15703" y="315913"/>
                      <a:pt x="15703" y="315913"/>
                      <a:pt x="31406" y="315913"/>
                    </a:cubicBezTo>
                    <a:cubicBezTo>
                      <a:pt x="31406" y="315913"/>
                      <a:pt x="31406" y="315913"/>
                      <a:pt x="1271932" y="315913"/>
                    </a:cubicBezTo>
                    <a:cubicBezTo>
                      <a:pt x="1271932" y="315913"/>
                      <a:pt x="1271932" y="315913"/>
                      <a:pt x="1287635" y="315913"/>
                    </a:cubicBezTo>
                    <a:cubicBezTo>
                      <a:pt x="1287635" y="315913"/>
                      <a:pt x="1287635" y="315913"/>
                      <a:pt x="1303338" y="315913"/>
                    </a:cubicBezTo>
                    <a:cubicBezTo>
                      <a:pt x="1303338" y="315913"/>
                      <a:pt x="1303338" y="315913"/>
                      <a:pt x="1303338" y="816948"/>
                    </a:cubicBezTo>
                    <a:cubicBezTo>
                      <a:pt x="1303338" y="834127"/>
                      <a:pt x="1289063" y="847726"/>
                      <a:pt x="1271932" y="847726"/>
                    </a:cubicBezTo>
                    <a:cubicBezTo>
                      <a:pt x="1271932" y="847726"/>
                      <a:pt x="1271932" y="847726"/>
                      <a:pt x="31406" y="847726"/>
                    </a:cubicBezTo>
                    <a:cubicBezTo>
                      <a:pt x="14276" y="847726"/>
                      <a:pt x="0" y="834127"/>
                      <a:pt x="0" y="816948"/>
                    </a:cubicBezTo>
                    <a:cubicBezTo>
                      <a:pt x="0" y="816948"/>
                      <a:pt x="0" y="816948"/>
                      <a:pt x="0" y="315913"/>
                    </a:cubicBezTo>
                    <a:close/>
                    <a:moveTo>
                      <a:pt x="31406" y="0"/>
                    </a:moveTo>
                    <a:cubicBezTo>
                      <a:pt x="31406" y="0"/>
                      <a:pt x="31406" y="0"/>
                      <a:pt x="279083" y="0"/>
                    </a:cubicBezTo>
                    <a:cubicBezTo>
                      <a:pt x="279083" y="0"/>
                      <a:pt x="279083" y="0"/>
                      <a:pt x="279083" y="15764"/>
                    </a:cubicBezTo>
                    <a:cubicBezTo>
                      <a:pt x="279083" y="15764"/>
                      <a:pt x="279083" y="15764"/>
                      <a:pt x="279083" y="31528"/>
                    </a:cubicBezTo>
                    <a:cubicBezTo>
                      <a:pt x="279083" y="31528"/>
                      <a:pt x="279083" y="31528"/>
                      <a:pt x="279083" y="137578"/>
                    </a:cubicBezTo>
                    <a:cubicBezTo>
                      <a:pt x="279083" y="171973"/>
                      <a:pt x="307634" y="200635"/>
                      <a:pt x="341894" y="200635"/>
                    </a:cubicBezTo>
                    <a:cubicBezTo>
                      <a:pt x="342608" y="200635"/>
                      <a:pt x="342608" y="200635"/>
                      <a:pt x="343322" y="200635"/>
                    </a:cubicBezTo>
                    <a:cubicBezTo>
                      <a:pt x="376869" y="199918"/>
                      <a:pt x="404706" y="171256"/>
                      <a:pt x="404706" y="136145"/>
                    </a:cubicBezTo>
                    <a:cubicBezTo>
                      <a:pt x="404706" y="136145"/>
                      <a:pt x="404706" y="136145"/>
                      <a:pt x="404706" y="31528"/>
                    </a:cubicBezTo>
                    <a:cubicBezTo>
                      <a:pt x="404706" y="31528"/>
                      <a:pt x="404706" y="31528"/>
                      <a:pt x="404706" y="15764"/>
                    </a:cubicBezTo>
                    <a:cubicBezTo>
                      <a:pt x="404706" y="15764"/>
                      <a:pt x="404706" y="15764"/>
                      <a:pt x="404706" y="0"/>
                    </a:cubicBezTo>
                    <a:cubicBezTo>
                      <a:pt x="404706" y="0"/>
                      <a:pt x="404706" y="0"/>
                      <a:pt x="898632" y="0"/>
                    </a:cubicBezTo>
                    <a:cubicBezTo>
                      <a:pt x="898632" y="0"/>
                      <a:pt x="898632" y="0"/>
                      <a:pt x="898632" y="15764"/>
                    </a:cubicBezTo>
                    <a:cubicBezTo>
                      <a:pt x="898632" y="15764"/>
                      <a:pt x="898632" y="15764"/>
                      <a:pt x="898632" y="31528"/>
                    </a:cubicBezTo>
                    <a:cubicBezTo>
                      <a:pt x="898632" y="31528"/>
                      <a:pt x="898632" y="31528"/>
                      <a:pt x="898632" y="136145"/>
                    </a:cubicBezTo>
                    <a:cubicBezTo>
                      <a:pt x="898632" y="171256"/>
                      <a:pt x="926469" y="199918"/>
                      <a:pt x="960016" y="200635"/>
                    </a:cubicBezTo>
                    <a:cubicBezTo>
                      <a:pt x="960730" y="200635"/>
                      <a:pt x="960730" y="200635"/>
                      <a:pt x="961444" y="200635"/>
                    </a:cubicBezTo>
                    <a:cubicBezTo>
                      <a:pt x="995705" y="200635"/>
                      <a:pt x="1024255" y="171973"/>
                      <a:pt x="1024255" y="137578"/>
                    </a:cubicBezTo>
                    <a:cubicBezTo>
                      <a:pt x="1024255" y="137578"/>
                      <a:pt x="1024255" y="137578"/>
                      <a:pt x="1024255" y="31528"/>
                    </a:cubicBezTo>
                    <a:cubicBezTo>
                      <a:pt x="1024255" y="31528"/>
                      <a:pt x="1024255" y="31528"/>
                      <a:pt x="1024255" y="15764"/>
                    </a:cubicBezTo>
                    <a:cubicBezTo>
                      <a:pt x="1024255" y="15764"/>
                      <a:pt x="1024255" y="15764"/>
                      <a:pt x="1024255" y="0"/>
                    </a:cubicBezTo>
                    <a:cubicBezTo>
                      <a:pt x="1024255" y="0"/>
                      <a:pt x="1024255" y="0"/>
                      <a:pt x="1271932" y="0"/>
                    </a:cubicBezTo>
                    <a:cubicBezTo>
                      <a:pt x="1289063" y="0"/>
                      <a:pt x="1303338" y="14331"/>
                      <a:pt x="1303338" y="31528"/>
                    </a:cubicBezTo>
                    <a:cubicBezTo>
                      <a:pt x="1303338" y="31528"/>
                      <a:pt x="1303338" y="31528"/>
                      <a:pt x="1303338" y="287338"/>
                    </a:cubicBezTo>
                    <a:cubicBezTo>
                      <a:pt x="1303338" y="287338"/>
                      <a:pt x="1303338" y="287338"/>
                      <a:pt x="1287635" y="287338"/>
                    </a:cubicBezTo>
                    <a:cubicBezTo>
                      <a:pt x="1287635" y="287338"/>
                      <a:pt x="1287635" y="287338"/>
                      <a:pt x="1271932" y="287338"/>
                    </a:cubicBezTo>
                    <a:cubicBezTo>
                      <a:pt x="1271932" y="287338"/>
                      <a:pt x="1271932" y="287338"/>
                      <a:pt x="31406" y="287338"/>
                    </a:cubicBezTo>
                    <a:cubicBezTo>
                      <a:pt x="31406" y="287338"/>
                      <a:pt x="31406" y="287338"/>
                      <a:pt x="15703" y="287338"/>
                    </a:cubicBezTo>
                    <a:cubicBezTo>
                      <a:pt x="15703" y="287338"/>
                      <a:pt x="15703" y="287338"/>
                      <a:pt x="0" y="287338"/>
                    </a:cubicBezTo>
                    <a:cubicBezTo>
                      <a:pt x="0" y="287338"/>
                      <a:pt x="0" y="287338"/>
                      <a:pt x="0" y="31528"/>
                    </a:cubicBezTo>
                    <a:cubicBezTo>
                      <a:pt x="0" y="14331"/>
                      <a:pt x="14276" y="0"/>
                      <a:pt x="3140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dirty="0"/>
              </a:p>
            </p:txBody>
          </p:sp>
          <p:sp>
            <p:nvSpPr>
              <p:cNvPr id="12" name="Freeform 8">
                <a:extLst>
                  <a:ext uri="{FF2B5EF4-FFF2-40B4-BE49-F238E27FC236}">
                    <a16:creationId xmlns:a16="http://schemas.microsoft.com/office/drawing/2014/main" id="{5F5E8FBA-7532-5041-8D7F-DC6393D423C6}"/>
                  </a:ext>
                </a:extLst>
              </p:cNvPr>
              <p:cNvSpPr>
                <a:spLocks/>
              </p:cNvSpPr>
              <p:nvPr/>
            </p:nvSpPr>
            <p:spPr bwMode="auto">
              <a:xfrm>
                <a:off x="5754688" y="2855913"/>
                <a:ext cx="681038" cy="439738"/>
              </a:xfrm>
              <a:custGeom>
                <a:avLst/>
                <a:gdLst>
                  <a:gd name="T0" fmla="*/ 745 w 956"/>
                  <a:gd name="T1" fmla="*/ 0 h 616"/>
                  <a:gd name="T2" fmla="*/ 211 w 956"/>
                  <a:gd name="T3" fmla="*/ 0 h 616"/>
                  <a:gd name="T4" fmla="*/ 0 w 956"/>
                  <a:gd name="T5" fmla="*/ 211 h 616"/>
                  <a:gd name="T6" fmla="*/ 0 w 956"/>
                  <a:gd name="T7" fmla="*/ 381 h 616"/>
                  <a:gd name="T8" fmla="*/ 0 w 956"/>
                  <a:gd name="T9" fmla="*/ 403 h 616"/>
                  <a:gd name="T10" fmla="*/ 0 w 956"/>
                  <a:gd name="T11" fmla="*/ 425 h 616"/>
                  <a:gd name="T12" fmla="*/ 0 w 956"/>
                  <a:gd name="T13" fmla="*/ 572 h 616"/>
                  <a:gd name="T14" fmla="*/ 44 w 956"/>
                  <a:gd name="T15" fmla="*/ 616 h 616"/>
                  <a:gd name="T16" fmla="*/ 45 w 956"/>
                  <a:gd name="T17" fmla="*/ 616 h 616"/>
                  <a:gd name="T18" fmla="*/ 88 w 956"/>
                  <a:gd name="T19" fmla="*/ 570 h 616"/>
                  <a:gd name="T20" fmla="*/ 88 w 956"/>
                  <a:gd name="T21" fmla="*/ 425 h 616"/>
                  <a:gd name="T22" fmla="*/ 88 w 956"/>
                  <a:gd name="T23" fmla="*/ 403 h 616"/>
                  <a:gd name="T24" fmla="*/ 88 w 956"/>
                  <a:gd name="T25" fmla="*/ 381 h 616"/>
                  <a:gd name="T26" fmla="*/ 88 w 956"/>
                  <a:gd name="T27" fmla="*/ 211 h 616"/>
                  <a:gd name="T28" fmla="*/ 211 w 956"/>
                  <a:gd name="T29" fmla="*/ 88 h 616"/>
                  <a:gd name="T30" fmla="*/ 745 w 956"/>
                  <a:gd name="T31" fmla="*/ 88 h 616"/>
                  <a:gd name="T32" fmla="*/ 868 w 956"/>
                  <a:gd name="T33" fmla="*/ 211 h 616"/>
                  <a:gd name="T34" fmla="*/ 868 w 956"/>
                  <a:gd name="T35" fmla="*/ 381 h 616"/>
                  <a:gd name="T36" fmla="*/ 868 w 956"/>
                  <a:gd name="T37" fmla="*/ 403 h 616"/>
                  <a:gd name="T38" fmla="*/ 868 w 956"/>
                  <a:gd name="T39" fmla="*/ 425 h 616"/>
                  <a:gd name="T40" fmla="*/ 868 w 956"/>
                  <a:gd name="T41" fmla="*/ 570 h 616"/>
                  <a:gd name="T42" fmla="*/ 911 w 956"/>
                  <a:gd name="T43" fmla="*/ 616 h 616"/>
                  <a:gd name="T44" fmla="*/ 912 w 956"/>
                  <a:gd name="T45" fmla="*/ 616 h 616"/>
                  <a:gd name="T46" fmla="*/ 956 w 956"/>
                  <a:gd name="T47" fmla="*/ 572 h 616"/>
                  <a:gd name="T48" fmla="*/ 956 w 956"/>
                  <a:gd name="T49" fmla="*/ 425 h 616"/>
                  <a:gd name="T50" fmla="*/ 956 w 956"/>
                  <a:gd name="T51" fmla="*/ 403 h 616"/>
                  <a:gd name="T52" fmla="*/ 956 w 956"/>
                  <a:gd name="T53" fmla="*/ 381 h 616"/>
                  <a:gd name="T54" fmla="*/ 956 w 956"/>
                  <a:gd name="T55" fmla="*/ 211 h 616"/>
                  <a:gd name="T56" fmla="*/ 745 w 956"/>
                  <a:gd name="T57" fmla="*/ 0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6" h="616">
                    <a:moveTo>
                      <a:pt x="745" y="0"/>
                    </a:moveTo>
                    <a:cubicBezTo>
                      <a:pt x="211" y="0"/>
                      <a:pt x="211" y="0"/>
                      <a:pt x="211" y="0"/>
                    </a:cubicBezTo>
                    <a:cubicBezTo>
                      <a:pt x="95" y="0"/>
                      <a:pt x="0" y="95"/>
                      <a:pt x="0" y="211"/>
                    </a:cubicBezTo>
                    <a:cubicBezTo>
                      <a:pt x="0" y="381"/>
                      <a:pt x="0" y="381"/>
                      <a:pt x="0" y="381"/>
                    </a:cubicBezTo>
                    <a:cubicBezTo>
                      <a:pt x="0" y="403"/>
                      <a:pt x="0" y="403"/>
                      <a:pt x="0" y="403"/>
                    </a:cubicBezTo>
                    <a:cubicBezTo>
                      <a:pt x="0" y="425"/>
                      <a:pt x="0" y="425"/>
                      <a:pt x="0" y="425"/>
                    </a:cubicBezTo>
                    <a:cubicBezTo>
                      <a:pt x="0" y="572"/>
                      <a:pt x="0" y="572"/>
                      <a:pt x="0" y="572"/>
                    </a:cubicBezTo>
                    <a:cubicBezTo>
                      <a:pt x="0" y="596"/>
                      <a:pt x="20" y="616"/>
                      <a:pt x="44" y="616"/>
                    </a:cubicBezTo>
                    <a:cubicBezTo>
                      <a:pt x="45" y="616"/>
                      <a:pt x="45" y="616"/>
                      <a:pt x="45" y="616"/>
                    </a:cubicBezTo>
                    <a:cubicBezTo>
                      <a:pt x="69" y="615"/>
                      <a:pt x="88" y="594"/>
                      <a:pt x="88" y="570"/>
                    </a:cubicBezTo>
                    <a:cubicBezTo>
                      <a:pt x="88" y="425"/>
                      <a:pt x="88" y="425"/>
                      <a:pt x="88" y="425"/>
                    </a:cubicBezTo>
                    <a:cubicBezTo>
                      <a:pt x="88" y="403"/>
                      <a:pt x="88" y="403"/>
                      <a:pt x="88" y="403"/>
                    </a:cubicBezTo>
                    <a:cubicBezTo>
                      <a:pt x="88" y="381"/>
                      <a:pt x="88" y="381"/>
                      <a:pt x="88" y="381"/>
                    </a:cubicBezTo>
                    <a:cubicBezTo>
                      <a:pt x="88" y="211"/>
                      <a:pt x="88" y="211"/>
                      <a:pt x="88" y="211"/>
                    </a:cubicBezTo>
                    <a:cubicBezTo>
                      <a:pt x="88" y="143"/>
                      <a:pt x="143" y="88"/>
                      <a:pt x="211" y="88"/>
                    </a:cubicBezTo>
                    <a:cubicBezTo>
                      <a:pt x="745" y="88"/>
                      <a:pt x="745" y="88"/>
                      <a:pt x="745" y="88"/>
                    </a:cubicBezTo>
                    <a:cubicBezTo>
                      <a:pt x="813" y="88"/>
                      <a:pt x="868" y="143"/>
                      <a:pt x="868" y="211"/>
                    </a:cubicBezTo>
                    <a:cubicBezTo>
                      <a:pt x="868" y="381"/>
                      <a:pt x="868" y="381"/>
                      <a:pt x="868" y="381"/>
                    </a:cubicBezTo>
                    <a:cubicBezTo>
                      <a:pt x="868" y="403"/>
                      <a:pt x="868" y="403"/>
                      <a:pt x="868" y="403"/>
                    </a:cubicBezTo>
                    <a:cubicBezTo>
                      <a:pt x="868" y="425"/>
                      <a:pt x="868" y="425"/>
                      <a:pt x="868" y="425"/>
                    </a:cubicBezTo>
                    <a:cubicBezTo>
                      <a:pt x="868" y="570"/>
                      <a:pt x="868" y="570"/>
                      <a:pt x="868" y="570"/>
                    </a:cubicBezTo>
                    <a:cubicBezTo>
                      <a:pt x="868" y="594"/>
                      <a:pt x="887" y="615"/>
                      <a:pt x="911" y="616"/>
                    </a:cubicBezTo>
                    <a:cubicBezTo>
                      <a:pt x="912" y="616"/>
                      <a:pt x="912" y="616"/>
                      <a:pt x="912" y="616"/>
                    </a:cubicBezTo>
                    <a:cubicBezTo>
                      <a:pt x="936" y="616"/>
                      <a:pt x="956" y="596"/>
                      <a:pt x="956" y="572"/>
                    </a:cubicBezTo>
                    <a:cubicBezTo>
                      <a:pt x="956" y="425"/>
                      <a:pt x="956" y="425"/>
                      <a:pt x="956" y="425"/>
                    </a:cubicBezTo>
                    <a:cubicBezTo>
                      <a:pt x="956" y="403"/>
                      <a:pt x="956" y="403"/>
                      <a:pt x="956" y="403"/>
                    </a:cubicBezTo>
                    <a:cubicBezTo>
                      <a:pt x="956" y="381"/>
                      <a:pt x="956" y="381"/>
                      <a:pt x="956" y="381"/>
                    </a:cubicBezTo>
                    <a:cubicBezTo>
                      <a:pt x="956" y="211"/>
                      <a:pt x="956" y="211"/>
                      <a:pt x="956" y="211"/>
                    </a:cubicBezTo>
                    <a:cubicBezTo>
                      <a:pt x="956" y="95"/>
                      <a:pt x="861" y="0"/>
                      <a:pt x="74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grpSp>
        <p:nvGrpSpPr>
          <p:cNvPr id="13" name="bcgIcons_ArtificialIntelligence">
            <a:extLst>
              <a:ext uri="{FF2B5EF4-FFF2-40B4-BE49-F238E27FC236}">
                <a16:creationId xmlns:a16="http://schemas.microsoft.com/office/drawing/2014/main" id="{C05B83C9-E1F5-244A-B77B-58CCD48B0788}"/>
              </a:ext>
            </a:extLst>
          </p:cNvPr>
          <p:cNvGrpSpPr>
            <a:grpSpLocks noChangeAspect="1"/>
          </p:cNvGrpSpPr>
          <p:nvPr/>
        </p:nvGrpSpPr>
        <p:grpSpPr bwMode="auto">
          <a:xfrm>
            <a:off x="1051240" y="2073959"/>
            <a:ext cx="885606" cy="886427"/>
            <a:chOff x="1682" y="0"/>
            <a:chExt cx="4316" cy="4320"/>
          </a:xfrm>
        </p:grpSpPr>
        <p:sp>
          <p:nvSpPr>
            <p:cNvPr id="14" name="AutoShape 39">
              <a:extLst>
                <a:ext uri="{FF2B5EF4-FFF2-40B4-BE49-F238E27FC236}">
                  <a16:creationId xmlns:a16="http://schemas.microsoft.com/office/drawing/2014/main" id="{BE2F0B27-EED1-584F-94FB-1B05336E2E9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1">
              <a:extLst>
                <a:ext uri="{FF2B5EF4-FFF2-40B4-BE49-F238E27FC236}">
                  <a16:creationId xmlns:a16="http://schemas.microsoft.com/office/drawing/2014/main" id="{6169F291-C267-6F4F-B786-DCADB4891AB1}"/>
                </a:ext>
              </a:extLst>
            </p:cNvPr>
            <p:cNvSpPr>
              <a:spLocks noEditPoints="1"/>
            </p:cNvSpPr>
            <p:nvPr/>
          </p:nvSpPr>
          <p:spPr bwMode="auto">
            <a:xfrm>
              <a:off x="2145" y="465"/>
              <a:ext cx="3387" cy="3390"/>
            </a:xfrm>
            <a:custGeom>
              <a:avLst/>
              <a:gdLst>
                <a:gd name="T0" fmla="*/ 258 w 1808"/>
                <a:gd name="T1" fmla="*/ 1528 h 1808"/>
                <a:gd name="T2" fmla="*/ 1528 w 1808"/>
                <a:gd name="T3" fmla="*/ 258 h 1808"/>
                <a:gd name="T4" fmla="*/ 1528 w 1808"/>
                <a:gd name="T5" fmla="*/ 1550 h 1808"/>
                <a:gd name="T6" fmla="*/ 1506 w 1808"/>
                <a:gd name="T7" fmla="*/ 302 h 1808"/>
                <a:gd name="T8" fmla="*/ 550 w 1808"/>
                <a:gd name="T9" fmla="*/ 180 h 1808"/>
                <a:gd name="T10" fmla="*/ 506 w 1808"/>
                <a:gd name="T11" fmla="*/ 22 h 1808"/>
                <a:gd name="T12" fmla="*/ 550 w 1808"/>
                <a:gd name="T13" fmla="*/ 180 h 1808"/>
                <a:gd name="T14" fmla="*/ 779 w 1808"/>
                <a:gd name="T15" fmla="*/ 0 h 1808"/>
                <a:gd name="T16" fmla="*/ 779 w 1808"/>
                <a:gd name="T17" fmla="*/ 202 h 1808"/>
                <a:gd name="T18" fmla="*/ 1051 w 1808"/>
                <a:gd name="T19" fmla="*/ 22 h 1808"/>
                <a:gd name="T20" fmla="*/ 1007 w 1808"/>
                <a:gd name="T21" fmla="*/ 180 h 1808"/>
                <a:gd name="T22" fmla="*/ 1302 w 1808"/>
                <a:gd name="T23" fmla="*/ 180 h 1808"/>
                <a:gd name="T24" fmla="*/ 1258 w 1808"/>
                <a:gd name="T25" fmla="*/ 22 h 1808"/>
                <a:gd name="T26" fmla="*/ 1302 w 1808"/>
                <a:gd name="T27" fmla="*/ 180 h 1808"/>
                <a:gd name="T28" fmla="*/ 528 w 1808"/>
                <a:gd name="T29" fmla="*/ 1606 h 1808"/>
                <a:gd name="T30" fmla="*/ 528 w 1808"/>
                <a:gd name="T31" fmla="*/ 1808 h 1808"/>
                <a:gd name="T32" fmla="*/ 801 w 1808"/>
                <a:gd name="T33" fmla="*/ 1628 h 1808"/>
                <a:gd name="T34" fmla="*/ 757 w 1808"/>
                <a:gd name="T35" fmla="*/ 1786 h 1808"/>
                <a:gd name="T36" fmla="*/ 1051 w 1808"/>
                <a:gd name="T37" fmla="*/ 1786 h 1808"/>
                <a:gd name="T38" fmla="*/ 1007 w 1808"/>
                <a:gd name="T39" fmla="*/ 1628 h 1808"/>
                <a:gd name="T40" fmla="*/ 1051 w 1808"/>
                <a:gd name="T41" fmla="*/ 1786 h 1808"/>
                <a:gd name="T42" fmla="*/ 1280 w 1808"/>
                <a:gd name="T43" fmla="*/ 1606 h 1808"/>
                <a:gd name="T44" fmla="*/ 1280 w 1808"/>
                <a:gd name="T45" fmla="*/ 1808 h 1808"/>
                <a:gd name="T46" fmla="*/ 1786 w 1808"/>
                <a:gd name="T47" fmla="*/ 506 h 1808"/>
                <a:gd name="T48" fmla="*/ 1628 w 1808"/>
                <a:gd name="T49" fmla="*/ 550 h 1808"/>
                <a:gd name="T50" fmla="*/ 1808 w 1808"/>
                <a:gd name="T51" fmla="*/ 779 h 1808"/>
                <a:gd name="T52" fmla="*/ 1606 w 1808"/>
                <a:gd name="T53" fmla="*/ 779 h 1808"/>
                <a:gd name="T54" fmla="*/ 1808 w 1808"/>
                <a:gd name="T55" fmla="*/ 779 h 1808"/>
                <a:gd name="T56" fmla="*/ 1628 w 1808"/>
                <a:gd name="T57" fmla="*/ 1007 h 1808"/>
                <a:gd name="T58" fmla="*/ 1786 w 1808"/>
                <a:gd name="T59" fmla="*/ 1051 h 1808"/>
                <a:gd name="T60" fmla="*/ 1786 w 1808"/>
                <a:gd name="T61" fmla="*/ 1258 h 1808"/>
                <a:gd name="T62" fmla="*/ 1628 w 1808"/>
                <a:gd name="T63" fmla="*/ 1302 h 1808"/>
                <a:gd name="T64" fmla="*/ 202 w 1808"/>
                <a:gd name="T65" fmla="*/ 528 h 1808"/>
                <a:gd name="T66" fmla="*/ 0 w 1808"/>
                <a:gd name="T67" fmla="*/ 528 h 1808"/>
                <a:gd name="T68" fmla="*/ 202 w 1808"/>
                <a:gd name="T69" fmla="*/ 528 h 1808"/>
                <a:gd name="T70" fmla="*/ 22 w 1808"/>
                <a:gd name="T71" fmla="*/ 757 h 1808"/>
                <a:gd name="T72" fmla="*/ 180 w 1808"/>
                <a:gd name="T73" fmla="*/ 801 h 1808"/>
                <a:gd name="T74" fmla="*/ 180 w 1808"/>
                <a:gd name="T75" fmla="*/ 1007 h 1808"/>
                <a:gd name="T76" fmla="*/ 22 w 1808"/>
                <a:gd name="T77" fmla="*/ 1051 h 1808"/>
                <a:gd name="T78" fmla="*/ 202 w 1808"/>
                <a:gd name="T79" fmla="*/ 1280 h 1808"/>
                <a:gd name="T80" fmla="*/ 0 w 1808"/>
                <a:gd name="T81" fmla="*/ 1280 h 1808"/>
                <a:gd name="T82" fmla="*/ 202 w 1808"/>
                <a:gd name="T83" fmla="*/ 1280 h 1808"/>
                <a:gd name="T84" fmla="*/ 1303 w 1808"/>
                <a:gd name="T85" fmla="*/ 611 h 1808"/>
                <a:gd name="T86" fmla="*/ 913 w 1808"/>
                <a:gd name="T87" fmla="*/ 448 h 1808"/>
                <a:gd name="T88" fmla="*/ 522 w 1808"/>
                <a:gd name="T89" fmla="*/ 611 h 1808"/>
                <a:gd name="T90" fmla="*/ 463 w 1808"/>
                <a:gd name="T91" fmla="*/ 996 h 1808"/>
                <a:gd name="T92" fmla="*/ 677 w 1808"/>
                <a:gd name="T93" fmla="*/ 1339 h 1808"/>
                <a:gd name="T94" fmla="*/ 1001 w 1808"/>
                <a:gd name="T95" fmla="*/ 1408 h 1808"/>
                <a:gd name="T96" fmla="*/ 1362 w 1808"/>
                <a:gd name="T97" fmla="*/ 996 h 1808"/>
                <a:gd name="T98" fmla="*/ 707 w 1808"/>
                <a:gd name="T99" fmla="*/ 1308 h 1808"/>
                <a:gd name="T100" fmla="*/ 548 w 1808"/>
                <a:gd name="T101" fmla="*/ 1126 h 1808"/>
                <a:gd name="T102" fmla="*/ 536 w 1808"/>
                <a:gd name="T103" fmla="*/ 862 h 1808"/>
                <a:gd name="T104" fmla="*/ 640 w 1808"/>
                <a:gd name="T105" fmla="*/ 581 h 1808"/>
                <a:gd name="T106" fmla="*/ 887 w 1808"/>
                <a:gd name="T107" fmla="*/ 485 h 1808"/>
                <a:gd name="T108" fmla="*/ 826 w 1808"/>
                <a:gd name="T109" fmla="*/ 1364 h 1808"/>
                <a:gd name="T110" fmla="*/ 1179 w 1808"/>
                <a:gd name="T111" fmla="*/ 1211 h 1808"/>
                <a:gd name="T112" fmla="*/ 935 w 1808"/>
                <a:gd name="T113" fmla="*/ 489 h 1808"/>
                <a:gd name="T114" fmla="*/ 1170 w 1808"/>
                <a:gd name="T115" fmla="*/ 563 h 1808"/>
                <a:gd name="T116" fmla="*/ 1314 w 1808"/>
                <a:gd name="T117" fmla="*/ 765 h 1808"/>
                <a:gd name="T118" fmla="*/ 1318 w 1808"/>
                <a:gd name="T119" fmla="*/ 996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moveTo>
                    <a:pt x="1333" y="873"/>
                  </a:moveTo>
                  <a:cubicBezTo>
                    <a:pt x="1350" y="840"/>
                    <a:pt x="1358" y="803"/>
                    <a:pt x="1358" y="765"/>
                  </a:cubicBezTo>
                  <a:cubicBezTo>
                    <a:pt x="1358" y="708"/>
                    <a:pt x="1339" y="654"/>
                    <a:pt x="1303" y="611"/>
                  </a:cubicBezTo>
                  <a:cubicBezTo>
                    <a:pt x="1278" y="581"/>
                    <a:pt x="1247" y="558"/>
                    <a:pt x="1211" y="544"/>
                  </a:cubicBezTo>
                  <a:cubicBezTo>
                    <a:pt x="1194" y="458"/>
                    <a:pt x="1121" y="396"/>
                    <a:pt x="1036" y="396"/>
                  </a:cubicBezTo>
                  <a:cubicBezTo>
                    <a:pt x="990" y="396"/>
                    <a:pt x="946" y="414"/>
                    <a:pt x="913" y="448"/>
                  </a:cubicBezTo>
                  <a:cubicBezTo>
                    <a:pt x="879" y="414"/>
                    <a:pt x="835" y="396"/>
                    <a:pt x="789" y="396"/>
                  </a:cubicBezTo>
                  <a:cubicBezTo>
                    <a:pt x="704" y="396"/>
                    <a:pt x="631" y="458"/>
                    <a:pt x="614" y="544"/>
                  </a:cubicBezTo>
                  <a:cubicBezTo>
                    <a:pt x="578" y="558"/>
                    <a:pt x="547" y="581"/>
                    <a:pt x="522" y="611"/>
                  </a:cubicBezTo>
                  <a:cubicBezTo>
                    <a:pt x="487" y="654"/>
                    <a:pt x="467" y="708"/>
                    <a:pt x="467" y="765"/>
                  </a:cubicBezTo>
                  <a:cubicBezTo>
                    <a:pt x="467" y="803"/>
                    <a:pt x="476" y="840"/>
                    <a:pt x="492" y="873"/>
                  </a:cubicBezTo>
                  <a:cubicBezTo>
                    <a:pt x="473" y="910"/>
                    <a:pt x="463" y="952"/>
                    <a:pt x="463" y="996"/>
                  </a:cubicBezTo>
                  <a:cubicBezTo>
                    <a:pt x="463" y="1053"/>
                    <a:pt x="480" y="1107"/>
                    <a:pt x="513" y="1152"/>
                  </a:cubicBezTo>
                  <a:cubicBezTo>
                    <a:pt x="537" y="1186"/>
                    <a:pt x="570" y="1214"/>
                    <a:pt x="607" y="1232"/>
                  </a:cubicBezTo>
                  <a:cubicBezTo>
                    <a:pt x="618" y="1270"/>
                    <a:pt x="643" y="1307"/>
                    <a:pt x="677" y="1339"/>
                  </a:cubicBezTo>
                  <a:cubicBezTo>
                    <a:pt x="723" y="1383"/>
                    <a:pt x="777" y="1408"/>
                    <a:pt x="826" y="1408"/>
                  </a:cubicBezTo>
                  <a:cubicBezTo>
                    <a:pt x="863" y="1408"/>
                    <a:pt x="895" y="1391"/>
                    <a:pt x="914" y="1363"/>
                  </a:cubicBezTo>
                  <a:cubicBezTo>
                    <a:pt x="934" y="1389"/>
                    <a:pt x="964" y="1408"/>
                    <a:pt x="1001" y="1408"/>
                  </a:cubicBezTo>
                  <a:cubicBezTo>
                    <a:pt x="1089" y="1408"/>
                    <a:pt x="1190" y="1325"/>
                    <a:pt x="1218" y="1232"/>
                  </a:cubicBezTo>
                  <a:cubicBezTo>
                    <a:pt x="1256" y="1214"/>
                    <a:pt x="1288" y="1186"/>
                    <a:pt x="1313" y="1152"/>
                  </a:cubicBezTo>
                  <a:cubicBezTo>
                    <a:pt x="1345" y="1107"/>
                    <a:pt x="1362" y="1053"/>
                    <a:pt x="1362" y="996"/>
                  </a:cubicBezTo>
                  <a:cubicBezTo>
                    <a:pt x="1362" y="952"/>
                    <a:pt x="1352" y="910"/>
                    <a:pt x="1333" y="873"/>
                  </a:cubicBezTo>
                  <a:close/>
                  <a:moveTo>
                    <a:pt x="826" y="1364"/>
                  </a:moveTo>
                  <a:cubicBezTo>
                    <a:pt x="788" y="1364"/>
                    <a:pt x="745" y="1343"/>
                    <a:pt x="707" y="1308"/>
                  </a:cubicBezTo>
                  <a:cubicBezTo>
                    <a:pt x="676" y="1278"/>
                    <a:pt x="655" y="1244"/>
                    <a:pt x="647" y="1211"/>
                  </a:cubicBezTo>
                  <a:cubicBezTo>
                    <a:pt x="645" y="1204"/>
                    <a:pt x="640" y="1199"/>
                    <a:pt x="634" y="1196"/>
                  </a:cubicBezTo>
                  <a:cubicBezTo>
                    <a:pt x="600" y="1181"/>
                    <a:pt x="570" y="1157"/>
                    <a:pt x="548" y="1126"/>
                  </a:cubicBezTo>
                  <a:cubicBezTo>
                    <a:pt x="521" y="1089"/>
                    <a:pt x="507" y="1043"/>
                    <a:pt x="507" y="996"/>
                  </a:cubicBezTo>
                  <a:cubicBezTo>
                    <a:pt x="507" y="956"/>
                    <a:pt x="517" y="917"/>
                    <a:pt x="536" y="884"/>
                  </a:cubicBezTo>
                  <a:cubicBezTo>
                    <a:pt x="540" y="877"/>
                    <a:pt x="540" y="869"/>
                    <a:pt x="536" y="862"/>
                  </a:cubicBezTo>
                  <a:cubicBezTo>
                    <a:pt x="520" y="833"/>
                    <a:pt x="511" y="799"/>
                    <a:pt x="511" y="765"/>
                  </a:cubicBezTo>
                  <a:cubicBezTo>
                    <a:pt x="511" y="719"/>
                    <a:pt x="527" y="674"/>
                    <a:pt x="556" y="639"/>
                  </a:cubicBezTo>
                  <a:cubicBezTo>
                    <a:pt x="578" y="611"/>
                    <a:pt x="607" y="592"/>
                    <a:pt x="640" y="581"/>
                  </a:cubicBezTo>
                  <a:cubicBezTo>
                    <a:pt x="648" y="579"/>
                    <a:pt x="654" y="572"/>
                    <a:pt x="655" y="563"/>
                  </a:cubicBezTo>
                  <a:cubicBezTo>
                    <a:pt x="664" y="493"/>
                    <a:pt x="722" y="440"/>
                    <a:pt x="789" y="440"/>
                  </a:cubicBezTo>
                  <a:cubicBezTo>
                    <a:pt x="826" y="440"/>
                    <a:pt x="862" y="456"/>
                    <a:pt x="887" y="485"/>
                  </a:cubicBezTo>
                  <a:cubicBezTo>
                    <a:pt x="891" y="489"/>
                    <a:pt x="891" y="489"/>
                    <a:pt x="891" y="489"/>
                  </a:cubicBezTo>
                  <a:cubicBezTo>
                    <a:pt x="891" y="1301"/>
                    <a:pt x="891" y="1301"/>
                    <a:pt x="891" y="1301"/>
                  </a:cubicBezTo>
                  <a:cubicBezTo>
                    <a:pt x="887" y="1339"/>
                    <a:pt x="861" y="1364"/>
                    <a:pt x="826" y="1364"/>
                  </a:cubicBezTo>
                  <a:close/>
                  <a:moveTo>
                    <a:pt x="1277" y="1126"/>
                  </a:moveTo>
                  <a:cubicBezTo>
                    <a:pt x="1255" y="1157"/>
                    <a:pt x="1225" y="1181"/>
                    <a:pt x="1191" y="1196"/>
                  </a:cubicBezTo>
                  <a:cubicBezTo>
                    <a:pt x="1185" y="1199"/>
                    <a:pt x="1180" y="1204"/>
                    <a:pt x="1179" y="1211"/>
                  </a:cubicBezTo>
                  <a:cubicBezTo>
                    <a:pt x="1160" y="1288"/>
                    <a:pt x="1072" y="1364"/>
                    <a:pt x="1001" y="1364"/>
                  </a:cubicBezTo>
                  <a:cubicBezTo>
                    <a:pt x="965" y="1364"/>
                    <a:pt x="938" y="1331"/>
                    <a:pt x="935" y="1300"/>
                  </a:cubicBezTo>
                  <a:cubicBezTo>
                    <a:pt x="935" y="489"/>
                    <a:pt x="935" y="489"/>
                    <a:pt x="935" y="489"/>
                  </a:cubicBezTo>
                  <a:cubicBezTo>
                    <a:pt x="938" y="485"/>
                    <a:pt x="938" y="485"/>
                    <a:pt x="938" y="485"/>
                  </a:cubicBezTo>
                  <a:cubicBezTo>
                    <a:pt x="963" y="456"/>
                    <a:pt x="999" y="440"/>
                    <a:pt x="1036" y="440"/>
                  </a:cubicBezTo>
                  <a:cubicBezTo>
                    <a:pt x="1103" y="440"/>
                    <a:pt x="1161" y="493"/>
                    <a:pt x="1170" y="563"/>
                  </a:cubicBezTo>
                  <a:cubicBezTo>
                    <a:pt x="1171" y="572"/>
                    <a:pt x="1177" y="579"/>
                    <a:pt x="1185" y="581"/>
                  </a:cubicBezTo>
                  <a:cubicBezTo>
                    <a:pt x="1218" y="592"/>
                    <a:pt x="1247" y="611"/>
                    <a:pt x="1269" y="639"/>
                  </a:cubicBezTo>
                  <a:cubicBezTo>
                    <a:pt x="1298" y="674"/>
                    <a:pt x="1314" y="719"/>
                    <a:pt x="1314" y="765"/>
                  </a:cubicBezTo>
                  <a:cubicBezTo>
                    <a:pt x="1314" y="799"/>
                    <a:pt x="1305" y="833"/>
                    <a:pt x="1289" y="862"/>
                  </a:cubicBezTo>
                  <a:cubicBezTo>
                    <a:pt x="1285" y="869"/>
                    <a:pt x="1285" y="877"/>
                    <a:pt x="1289" y="884"/>
                  </a:cubicBezTo>
                  <a:cubicBezTo>
                    <a:pt x="1308" y="917"/>
                    <a:pt x="1318" y="956"/>
                    <a:pt x="1318" y="996"/>
                  </a:cubicBezTo>
                  <a:cubicBezTo>
                    <a:pt x="1318" y="1043"/>
                    <a:pt x="1304" y="1089"/>
                    <a:pt x="1277" y="11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2">
              <a:extLst>
                <a:ext uri="{FF2B5EF4-FFF2-40B4-BE49-F238E27FC236}">
                  <a16:creationId xmlns:a16="http://schemas.microsoft.com/office/drawing/2014/main" id="{A64833C6-F7B6-CD42-A37E-0E4CA2BF510C}"/>
                </a:ext>
              </a:extLst>
            </p:cNvPr>
            <p:cNvSpPr>
              <a:spLocks noEditPoints="1"/>
            </p:cNvSpPr>
            <p:nvPr/>
          </p:nvSpPr>
          <p:spPr bwMode="auto">
            <a:xfrm>
              <a:off x="3177" y="1373"/>
              <a:ext cx="1354" cy="1567"/>
            </a:xfrm>
            <a:custGeom>
              <a:avLst/>
              <a:gdLst>
                <a:gd name="T0" fmla="*/ 296 w 723"/>
                <a:gd name="T1" fmla="*/ 815 h 836"/>
                <a:gd name="T2" fmla="*/ 186 w 723"/>
                <a:gd name="T3" fmla="*/ 792 h 836"/>
                <a:gd name="T4" fmla="*/ 138 w 723"/>
                <a:gd name="T5" fmla="*/ 715 h 836"/>
                <a:gd name="T6" fmla="*/ 186 w 723"/>
                <a:gd name="T7" fmla="*/ 695 h 836"/>
                <a:gd name="T8" fmla="*/ 8 w 723"/>
                <a:gd name="T9" fmla="*/ 565 h 836"/>
                <a:gd name="T10" fmla="*/ 23 w 723"/>
                <a:gd name="T11" fmla="*/ 422 h 836"/>
                <a:gd name="T12" fmla="*/ 86 w 723"/>
                <a:gd name="T13" fmla="*/ 362 h 836"/>
                <a:gd name="T14" fmla="*/ 151 w 723"/>
                <a:gd name="T15" fmla="*/ 439 h 836"/>
                <a:gd name="T16" fmla="*/ 163 w 723"/>
                <a:gd name="T17" fmla="*/ 399 h 836"/>
                <a:gd name="T18" fmla="*/ 133 w 723"/>
                <a:gd name="T19" fmla="*/ 256 h 836"/>
                <a:gd name="T20" fmla="*/ 83 w 723"/>
                <a:gd name="T21" fmla="*/ 315 h 836"/>
                <a:gd name="T22" fmla="*/ 4 w 723"/>
                <a:gd name="T23" fmla="*/ 281 h 836"/>
                <a:gd name="T24" fmla="*/ 102 w 723"/>
                <a:gd name="T25" fmla="*/ 139 h 836"/>
                <a:gd name="T26" fmla="*/ 145 w 723"/>
                <a:gd name="T27" fmla="*/ 127 h 836"/>
                <a:gd name="T28" fmla="*/ 254 w 723"/>
                <a:gd name="T29" fmla="*/ 139 h 836"/>
                <a:gd name="T30" fmla="*/ 148 w 723"/>
                <a:gd name="T31" fmla="*/ 83 h 836"/>
                <a:gd name="T32" fmla="*/ 296 w 723"/>
                <a:gd name="T33" fmla="*/ 22 h 836"/>
                <a:gd name="T34" fmla="*/ 281 w 723"/>
                <a:gd name="T35" fmla="*/ 529 h 836"/>
                <a:gd name="T36" fmla="*/ 127 w 723"/>
                <a:gd name="T37" fmla="*/ 575 h 836"/>
                <a:gd name="T38" fmla="*/ 193 w 723"/>
                <a:gd name="T39" fmla="*/ 611 h 836"/>
                <a:gd name="T40" fmla="*/ 545 w 723"/>
                <a:gd name="T41" fmla="*/ 732 h 836"/>
                <a:gd name="T42" fmla="*/ 545 w 723"/>
                <a:gd name="T43" fmla="*/ 688 h 836"/>
                <a:gd name="T44" fmla="*/ 623 w 723"/>
                <a:gd name="T45" fmla="*/ 672 h 836"/>
                <a:gd name="T46" fmla="*/ 723 w 723"/>
                <a:gd name="T47" fmla="*/ 512 h 836"/>
                <a:gd name="T48" fmla="*/ 589 w 723"/>
                <a:gd name="T49" fmla="*/ 468 h 836"/>
                <a:gd name="T50" fmla="*/ 491 w 723"/>
                <a:gd name="T51" fmla="*/ 534 h 836"/>
                <a:gd name="T52" fmla="*/ 466 w 723"/>
                <a:gd name="T53" fmla="*/ 515 h 836"/>
                <a:gd name="T54" fmla="*/ 562 w 723"/>
                <a:gd name="T55" fmla="*/ 390 h 836"/>
                <a:gd name="T56" fmla="*/ 606 w 723"/>
                <a:gd name="T57" fmla="*/ 384 h 836"/>
                <a:gd name="T58" fmla="*/ 683 w 723"/>
                <a:gd name="T59" fmla="*/ 386 h 836"/>
                <a:gd name="T60" fmla="*/ 719 w 723"/>
                <a:gd name="T61" fmla="*/ 281 h 836"/>
                <a:gd name="T62" fmla="*/ 621 w 723"/>
                <a:gd name="T63" fmla="*/ 139 h 836"/>
                <a:gd name="T64" fmla="*/ 585 w 723"/>
                <a:gd name="T65" fmla="*/ 132 h 836"/>
                <a:gd name="T66" fmla="*/ 483 w 723"/>
                <a:gd name="T67" fmla="*/ 142 h 836"/>
                <a:gd name="T68" fmla="*/ 576 w 723"/>
                <a:gd name="T69" fmla="*/ 88 h 836"/>
                <a:gd name="T70" fmla="*/ 485 w 723"/>
                <a:gd name="T71" fmla="*/ 0 h 836"/>
                <a:gd name="T72" fmla="*/ 428 w 723"/>
                <a:gd name="T73" fmla="*/ 239 h 836"/>
                <a:gd name="T74" fmla="*/ 595 w 723"/>
                <a:gd name="T75" fmla="*/ 241 h 836"/>
                <a:gd name="T76" fmla="*/ 440 w 723"/>
                <a:gd name="T77" fmla="*/ 287 h 836"/>
                <a:gd name="T78" fmla="*/ 428 w 723"/>
                <a:gd name="T79" fmla="*/ 813 h 836"/>
                <a:gd name="T80" fmla="*/ 581 w 723"/>
                <a:gd name="T81" fmla="*/ 72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3" h="836">
                  <a:moveTo>
                    <a:pt x="296" y="575"/>
                  </a:moveTo>
                  <a:cubicBezTo>
                    <a:pt x="296" y="815"/>
                    <a:pt x="296" y="815"/>
                    <a:pt x="296" y="815"/>
                  </a:cubicBezTo>
                  <a:cubicBezTo>
                    <a:pt x="294" y="825"/>
                    <a:pt x="290" y="836"/>
                    <a:pt x="275" y="836"/>
                  </a:cubicBezTo>
                  <a:cubicBezTo>
                    <a:pt x="249" y="836"/>
                    <a:pt x="215" y="819"/>
                    <a:pt x="186" y="792"/>
                  </a:cubicBezTo>
                  <a:cubicBezTo>
                    <a:pt x="162" y="768"/>
                    <a:pt x="144" y="741"/>
                    <a:pt x="138" y="716"/>
                  </a:cubicBezTo>
                  <a:cubicBezTo>
                    <a:pt x="138" y="715"/>
                    <a:pt x="138" y="715"/>
                    <a:pt x="138" y="715"/>
                  </a:cubicBezTo>
                  <a:cubicBezTo>
                    <a:pt x="146" y="716"/>
                    <a:pt x="155" y="717"/>
                    <a:pt x="164" y="717"/>
                  </a:cubicBezTo>
                  <a:cubicBezTo>
                    <a:pt x="176" y="717"/>
                    <a:pt x="186" y="707"/>
                    <a:pt x="186" y="695"/>
                  </a:cubicBezTo>
                  <a:cubicBezTo>
                    <a:pt x="186" y="683"/>
                    <a:pt x="176" y="673"/>
                    <a:pt x="164" y="673"/>
                  </a:cubicBezTo>
                  <a:cubicBezTo>
                    <a:pt x="92" y="673"/>
                    <a:pt x="31" y="628"/>
                    <a:pt x="8" y="565"/>
                  </a:cubicBezTo>
                  <a:cubicBezTo>
                    <a:pt x="2" y="548"/>
                    <a:pt x="0" y="530"/>
                    <a:pt x="0" y="512"/>
                  </a:cubicBezTo>
                  <a:cubicBezTo>
                    <a:pt x="0" y="479"/>
                    <a:pt x="8" y="449"/>
                    <a:pt x="23" y="422"/>
                  </a:cubicBezTo>
                  <a:cubicBezTo>
                    <a:pt x="30" y="410"/>
                    <a:pt x="30" y="410"/>
                    <a:pt x="30" y="410"/>
                  </a:cubicBezTo>
                  <a:cubicBezTo>
                    <a:pt x="45" y="390"/>
                    <a:pt x="64" y="374"/>
                    <a:pt x="86" y="362"/>
                  </a:cubicBezTo>
                  <a:cubicBezTo>
                    <a:pt x="93" y="391"/>
                    <a:pt x="111" y="418"/>
                    <a:pt x="139" y="435"/>
                  </a:cubicBezTo>
                  <a:cubicBezTo>
                    <a:pt x="142" y="438"/>
                    <a:pt x="146" y="439"/>
                    <a:pt x="151" y="439"/>
                  </a:cubicBezTo>
                  <a:cubicBezTo>
                    <a:pt x="158" y="439"/>
                    <a:pt x="165" y="435"/>
                    <a:pt x="169" y="429"/>
                  </a:cubicBezTo>
                  <a:cubicBezTo>
                    <a:pt x="176" y="419"/>
                    <a:pt x="173" y="405"/>
                    <a:pt x="163" y="399"/>
                  </a:cubicBezTo>
                  <a:cubicBezTo>
                    <a:pt x="125" y="374"/>
                    <a:pt x="115" y="324"/>
                    <a:pt x="139" y="287"/>
                  </a:cubicBezTo>
                  <a:cubicBezTo>
                    <a:pt x="146" y="276"/>
                    <a:pt x="143" y="263"/>
                    <a:pt x="133" y="256"/>
                  </a:cubicBezTo>
                  <a:cubicBezTo>
                    <a:pt x="122" y="250"/>
                    <a:pt x="109" y="252"/>
                    <a:pt x="102" y="263"/>
                  </a:cubicBezTo>
                  <a:cubicBezTo>
                    <a:pt x="91" y="279"/>
                    <a:pt x="85" y="297"/>
                    <a:pt x="83" y="315"/>
                  </a:cubicBezTo>
                  <a:cubicBezTo>
                    <a:pt x="60" y="324"/>
                    <a:pt x="39" y="337"/>
                    <a:pt x="22" y="354"/>
                  </a:cubicBezTo>
                  <a:cubicBezTo>
                    <a:pt x="10" y="331"/>
                    <a:pt x="4" y="307"/>
                    <a:pt x="4" y="281"/>
                  </a:cubicBezTo>
                  <a:cubicBezTo>
                    <a:pt x="4" y="245"/>
                    <a:pt x="16" y="210"/>
                    <a:pt x="39" y="183"/>
                  </a:cubicBezTo>
                  <a:cubicBezTo>
                    <a:pt x="56" y="162"/>
                    <a:pt x="78" y="147"/>
                    <a:pt x="102" y="139"/>
                  </a:cubicBezTo>
                  <a:cubicBezTo>
                    <a:pt x="140" y="127"/>
                    <a:pt x="140" y="127"/>
                    <a:pt x="140" y="127"/>
                  </a:cubicBezTo>
                  <a:cubicBezTo>
                    <a:pt x="142" y="127"/>
                    <a:pt x="143" y="127"/>
                    <a:pt x="145" y="127"/>
                  </a:cubicBezTo>
                  <a:cubicBezTo>
                    <a:pt x="173" y="127"/>
                    <a:pt x="200" y="134"/>
                    <a:pt x="224" y="148"/>
                  </a:cubicBezTo>
                  <a:cubicBezTo>
                    <a:pt x="234" y="154"/>
                    <a:pt x="248" y="150"/>
                    <a:pt x="254" y="139"/>
                  </a:cubicBezTo>
                  <a:cubicBezTo>
                    <a:pt x="260" y="129"/>
                    <a:pt x="256" y="115"/>
                    <a:pt x="245" y="109"/>
                  </a:cubicBezTo>
                  <a:cubicBezTo>
                    <a:pt x="216" y="93"/>
                    <a:pt x="182" y="84"/>
                    <a:pt x="148" y="83"/>
                  </a:cubicBezTo>
                  <a:cubicBezTo>
                    <a:pt x="155" y="35"/>
                    <a:pt x="193" y="0"/>
                    <a:pt x="238" y="0"/>
                  </a:cubicBezTo>
                  <a:cubicBezTo>
                    <a:pt x="259" y="0"/>
                    <a:pt x="279" y="8"/>
                    <a:pt x="296" y="22"/>
                  </a:cubicBezTo>
                  <a:cubicBezTo>
                    <a:pt x="296" y="511"/>
                    <a:pt x="296" y="511"/>
                    <a:pt x="296" y="511"/>
                  </a:cubicBezTo>
                  <a:cubicBezTo>
                    <a:pt x="291" y="517"/>
                    <a:pt x="287" y="523"/>
                    <a:pt x="281" y="529"/>
                  </a:cubicBezTo>
                  <a:cubicBezTo>
                    <a:pt x="249" y="563"/>
                    <a:pt x="199" y="576"/>
                    <a:pt x="154" y="561"/>
                  </a:cubicBezTo>
                  <a:cubicBezTo>
                    <a:pt x="143" y="557"/>
                    <a:pt x="130" y="563"/>
                    <a:pt x="127" y="575"/>
                  </a:cubicBezTo>
                  <a:cubicBezTo>
                    <a:pt x="123" y="586"/>
                    <a:pt x="129" y="598"/>
                    <a:pt x="140" y="602"/>
                  </a:cubicBezTo>
                  <a:cubicBezTo>
                    <a:pt x="158" y="608"/>
                    <a:pt x="175" y="611"/>
                    <a:pt x="193" y="611"/>
                  </a:cubicBezTo>
                  <a:cubicBezTo>
                    <a:pt x="230" y="611"/>
                    <a:pt x="266" y="598"/>
                    <a:pt x="296" y="575"/>
                  </a:cubicBezTo>
                  <a:close/>
                  <a:moveTo>
                    <a:pt x="545" y="732"/>
                  </a:moveTo>
                  <a:cubicBezTo>
                    <a:pt x="532" y="732"/>
                    <a:pt x="523" y="722"/>
                    <a:pt x="523" y="710"/>
                  </a:cubicBezTo>
                  <a:cubicBezTo>
                    <a:pt x="523" y="698"/>
                    <a:pt x="532" y="688"/>
                    <a:pt x="545" y="688"/>
                  </a:cubicBezTo>
                  <a:cubicBezTo>
                    <a:pt x="569" y="688"/>
                    <a:pt x="593" y="683"/>
                    <a:pt x="615" y="675"/>
                  </a:cubicBezTo>
                  <a:cubicBezTo>
                    <a:pt x="623" y="672"/>
                    <a:pt x="623" y="672"/>
                    <a:pt x="623" y="672"/>
                  </a:cubicBezTo>
                  <a:cubicBezTo>
                    <a:pt x="649" y="660"/>
                    <a:pt x="673" y="641"/>
                    <a:pt x="690" y="617"/>
                  </a:cubicBezTo>
                  <a:cubicBezTo>
                    <a:pt x="712" y="586"/>
                    <a:pt x="723" y="550"/>
                    <a:pt x="723" y="512"/>
                  </a:cubicBezTo>
                  <a:cubicBezTo>
                    <a:pt x="723" y="481"/>
                    <a:pt x="716" y="453"/>
                    <a:pt x="703" y="427"/>
                  </a:cubicBezTo>
                  <a:cubicBezTo>
                    <a:pt x="671" y="452"/>
                    <a:pt x="632" y="467"/>
                    <a:pt x="589" y="468"/>
                  </a:cubicBezTo>
                  <a:cubicBezTo>
                    <a:pt x="586" y="473"/>
                    <a:pt x="583" y="478"/>
                    <a:pt x="579" y="483"/>
                  </a:cubicBezTo>
                  <a:cubicBezTo>
                    <a:pt x="558" y="511"/>
                    <a:pt x="526" y="529"/>
                    <a:pt x="491" y="534"/>
                  </a:cubicBezTo>
                  <a:cubicBezTo>
                    <a:pt x="490" y="534"/>
                    <a:pt x="489" y="534"/>
                    <a:pt x="488" y="534"/>
                  </a:cubicBezTo>
                  <a:cubicBezTo>
                    <a:pt x="477" y="534"/>
                    <a:pt x="468" y="526"/>
                    <a:pt x="466" y="515"/>
                  </a:cubicBezTo>
                  <a:cubicBezTo>
                    <a:pt x="465" y="503"/>
                    <a:pt x="473" y="492"/>
                    <a:pt x="485" y="490"/>
                  </a:cubicBezTo>
                  <a:cubicBezTo>
                    <a:pt x="534" y="484"/>
                    <a:pt x="569" y="439"/>
                    <a:pt x="562" y="390"/>
                  </a:cubicBezTo>
                  <a:cubicBezTo>
                    <a:pt x="561" y="378"/>
                    <a:pt x="569" y="367"/>
                    <a:pt x="581" y="365"/>
                  </a:cubicBezTo>
                  <a:cubicBezTo>
                    <a:pt x="594" y="363"/>
                    <a:pt x="605" y="372"/>
                    <a:pt x="606" y="384"/>
                  </a:cubicBezTo>
                  <a:cubicBezTo>
                    <a:pt x="608" y="397"/>
                    <a:pt x="608" y="410"/>
                    <a:pt x="606" y="423"/>
                  </a:cubicBezTo>
                  <a:cubicBezTo>
                    <a:pt x="635" y="419"/>
                    <a:pt x="662" y="405"/>
                    <a:pt x="683" y="386"/>
                  </a:cubicBezTo>
                  <a:cubicBezTo>
                    <a:pt x="700" y="357"/>
                    <a:pt x="700" y="357"/>
                    <a:pt x="700" y="357"/>
                  </a:cubicBezTo>
                  <a:cubicBezTo>
                    <a:pt x="713" y="334"/>
                    <a:pt x="719" y="308"/>
                    <a:pt x="719" y="281"/>
                  </a:cubicBezTo>
                  <a:cubicBezTo>
                    <a:pt x="719" y="245"/>
                    <a:pt x="707" y="210"/>
                    <a:pt x="684" y="183"/>
                  </a:cubicBezTo>
                  <a:cubicBezTo>
                    <a:pt x="667" y="162"/>
                    <a:pt x="645" y="147"/>
                    <a:pt x="621" y="139"/>
                  </a:cubicBezTo>
                  <a:cubicBezTo>
                    <a:pt x="600" y="132"/>
                    <a:pt x="600" y="132"/>
                    <a:pt x="600" y="132"/>
                  </a:cubicBezTo>
                  <a:cubicBezTo>
                    <a:pt x="595" y="132"/>
                    <a:pt x="590" y="132"/>
                    <a:pt x="585" y="132"/>
                  </a:cubicBezTo>
                  <a:cubicBezTo>
                    <a:pt x="560" y="132"/>
                    <a:pt x="535" y="138"/>
                    <a:pt x="513" y="151"/>
                  </a:cubicBezTo>
                  <a:cubicBezTo>
                    <a:pt x="502" y="157"/>
                    <a:pt x="489" y="153"/>
                    <a:pt x="483" y="142"/>
                  </a:cubicBezTo>
                  <a:cubicBezTo>
                    <a:pt x="477" y="132"/>
                    <a:pt x="481" y="118"/>
                    <a:pt x="491" y="112"/>
                  </a:cubicBezTo>
                  <a:cubicBezTo>
                    <a:pt x="517" y="98"/>
                    <a:pt x="546" y="89"/>
                    <a:pt x="576" y="88"/>
                  </a:cubicBezTo>
                  <a:cubicBezTo>
                    <a:pt x="575" y="85"/>
                    <a:pt x="575" y="85"/>
                    <a:pt x="575" y="85"/>
                  </a:cubicBezTo>
                  <a:cubicBezTo>
                    <a:pt x="569" y="36"/>
                    <a:pt x="530" y="0"/>
                    <a:pt x="485" y="0"/>
                  </a:cubicBezTo>
                  <a:cubicBezTo>
                    <a:pt x="464" y="0"/>
                    <a:pt x="444" y="8"/>
                    <a:pt x="428" y="22"/>
                  </a:cubicBezTo>
                  <a:cubicBezTo>
                    <a:pt x="428" y="239"/>
                    <a:pt x="428" y="239"/>
                    <a:pt x="428" y="239"/>
                  </a:cubicBezTo>
                  <a:cubicBezTo>
                    <a:pt x="471" y="206"/>
                    <a:pt x="529" y="196"/>
                    <a:pt x="581" y="213"/>
                  </a:cubicBezTo>
                  <a:cubicBezTo>
                    <a:pt x="593" y="217"/>
                    <a:pt x="599" y="230"/>
                    <a:pt x="595" y="241"/>
                  </a:cubicBezTo>
                  <a:cubicBezTo>
                    <a:pt x="591" y="253"/>
                    <a:pt x="579" y="259"/>
                    <a:pt x="567" y="255"/>
                  </a:cubicBezTo>
                  <a:cubicBezTo>
                    <a:pt x="523" y="240"/>
                    <a:pt x="473" y="253"/>
                    <a:pt x="440" y="287"/>
                  </a:cubicBezTo>
                  <a:cubicBezTo>
                    <a:pt x="436" y="292"/>
                    <a:pt x="431" y="297"/>
                    <a:pt x="428" y="303"/>
                  </a:cubicBezTo>
                  <a:cubicBezTo>
                    <a:pt x="428" y="813"/>
                    <a:pt x="428" y="813"/>
                    <a:pt x="428" y="813"/>
                  </a:cubicBezTo>
                  <a:cubicBezTo>
                    <a:pt x="430" y="823"/>
                    <a:pt x="439" y="836"/>
                    <a:pt x="450" y="836"/>
                  </a:cubicBezTo>
                  <a:cubicBezTo>
                    <a:pt x="497" y="836"/>
                    <a:pt x="561" y="782"/>
                    <a:pt x="581" y="729"/>
                  </a:cubicBezTo>
                  <a:cubicBezTo>
                    <a:pt x="569" y="731"/>
                    <a:pt x="557" y="732"/>
                    <a:pt x="545" y="73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17" name="Group 16">
            <a:extLst>
              <a:ext uri="{FF2B5EF4-FFF2-40B4-BE49-F238E27FC236}">
                <a16:creationId xmlns:a16="http://schemas.microsoft.com/office/drawing/2014/main" id="{A4020CB2-C1CB-554F-B987-7311D44FD7C7}"/>
              </a:ext>
            </a:extLst>
          </p:cNvPr>
          <p:cNvGrpSpPr/>
          <p:nvPr/>
        </p:nvGrpSpPr>
        <p:grpSpPr>
          <a:xfrm>
            <a:off x="6610734" y="1824363"/>
            <a:ext cx="306171" cy="4079081"/>
            <a:chOff x="5942914" y="2081213"/>
            <a:chExt cx="306171" cy="4079081"/>
          </a:xfrm>
        </p:grpSpPr>
        <p:cxnSp>
          <p:nvCxnSpPr>
            <p:cNvPr id="18" name="Straight Connector 17">
              <a:extLst>
                <a:ext uri="{FF2B5EF4-FFF2-40B4-BE49-F238E27FC236}">
                  <a16:creationId xmlns:a16="http://schemas.microsoft.com/office/drawing/2014/main" id="{101583EA-5AC0-574D-93C1-1167FC4D3B75}"/>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D9D260B2-F649-C44A-95EF-CF4481FB32AA}"/>
                </a:ext>
              </a:extLst>
            </p:cNvPr>
            <p:cNvGrpSpPr/>
            <p:nvPr/>
          </p:nvGrpSpPr>
          <p:grpSpPr>
            <a:xfrm>
              <a:off x="5942914" y="3967299"/>
              <a:ext cx="306171" cy="306910"/>
              <a:chOff x="5937564" y="3833745"/>
              <a:chExt cx="306171" cy="306910"/>
            </a:xfrm>
          </p:grpSpPr>
          <p:sp>
            <p:nvSpPr>
              <p:cNvPr id="20" name="Freeform 94">
                <a:extLst>
                  <a:ext uri="{FF2B5EF4-FFF2-40B4-BE49-F238E27FC236}">
                    <a16:creationId xmlns:a16="http://schemas.microsoft.com/office/drawing/2014/main" id="{AC0805F5-ABD2-9241-9AC8-D0C8771EA3E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fr-FR" dirty="0">
                  <a:solidFill>
                    <a:srgbClr val="6E6F73"/>
                  </a:solidFill>
                </a:endParaRPr>
              </a:p>
            </p:txBody>
          </p:sp>
          <p:sp>
            <p:nvSpPr>
              <p:cNvPr id="21" name="Freeform 95">
                <a:extLst>
                  <a:ext uri="{FF2B5EF4-FFF2-40B4-BE49-F238E27FC236}">
                    <a16:creationId xmlns:a16="http://schemas.microsoft.com/office/drawing/2014/main" id="{55E1412D-DE93-FE41-9532-7B8EBD86F2A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fr-FR" dirty="0">
                  <a:solidFill>
                    <a:srgbClr val="6E6F73"/>
                  </a:solidFill>
                </a:endParaRPr>
              </a:p>
            </p:txBody>
          </p:sp>
        </p:grpSp>
      </p:grpSp>
      <p:sp>
        <p:nvSpPr>
          <p:cNvPr id="22" name="TextBox 21">
            <a:extLst>
              <a:ext uri="{FF2B5EF4-FFF2-40B4-BE49-F238E27FC236}">
                <a16:creationId xmlns:a16="http://schemas.microsoft.com/office/drawing/2014/main" id="{C629CD67-B790-664B-A2CF-CF9CBB0FB554}"/>
              </a:ext>
            </a:extLst>
          </p:cNvPr>
          <p:cNvSpPr txBox="1"/>
          <p:nvPr/>
        </p:nvSpPr>
        <p:spPr>
          <a:xfrm>
            <a:off x="7325473" y="2188399"/>
            <a:ext cx="2157573"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dirty="0">
                <a:solidFill>
                  <a:srgbClr val="29BA74"/>
                </a:solidFill>
              </a:rPr>
              <a:t>Score final</a:t>
            </a:r>
          </a:p>
        </p:txBody>
      </p:sp>
      <p:sp>
        <p:nvSpPr>
          <p:cNvPr id="23" name="TextBox 22">
            <a:extLst>
              <a:ext uri="{FF2B5EF4-FFF2-40B4-BE49-F238E27FC236}">
                <a16:creationId xmlns:a16="http://schemas.microsoft.com/office/drawing/2014/main" id="{7FFDE0BA-DFF2-344D-B697-19D3B1B2CC99}"/>
              </a:ext>
            </a:extLst>
          </p:cNvPr>
          <p:cNvSpPr txBox="1"/>
          <p:nvPr/>
        </p:nvSpPr>
        <p:spPr>
          <a:xfrm>
            <a:off x="4099389" y="2188399"/>
            <a:ext cx="2157573"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dirty="0">
                <a:solidFill>
                  <a:srgbClr val="29BA74"/>
                </a:solidFill>
              </a:rPr>
              <a:t>/5</a:t>
            </a:r>
          </a:p>
        </p:txBody>
      </p:sp>
      <p:sp>
        <p:nvSpPr>
          <p:cNvPr id="24" name="TextBox 23">
            <a:extLst>
              <a:ext uri="{FF2B5EF4-FFF2-40B4-BE49-F238E27FC236}">
                <a16:creationId xmlns:a16="http://schemas.microsoft.com/office/drawing/2014/main" id="{921BB153-42F6-6349-B2E8-CEBFE33D2130}"/>
              </a:ext>
            </a:extLst>
          </p:cNvPr>
          <p:cNvSpPr txBox="1"/>
          <p:nvPr/>
        </p:nvSpPr>
        <p:spPr>
          <a:xfrm>
            <a:off x="4099389" y="3739796"/>
            <a:ext cx="2157573"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dirty="0">
                <a:solidFill>
                  <a:srgbClr val="29BA74"/>
                </a:solidFill>
              </a:rPr>
              <a:t>/5</a:t>
            </a:r>
          </a:p>
        </p:txBody>
      </p:sp>
      <p:sp>
        <p:nvSpPr>
          <p:cNvPr id="25" name="TextBox 24">
            <a:extLst>
              <a:ext uri="{FF2B5EF4-FFF2-40B4-BE49-F238E27FC236}">
                <a16:creationId xmlns:a16="http://schemas.microsoft.com/office/drawing/2014/main" id="{1F2AC527-89EB-7240-B0BD-3D6D1E08F1DC}"/>
              </a:ext>
            </a:extLst>
          </p:cNvPr>
          <p:cNvSpPr txBox="1"/>
          <p:nvPr/>
        </p:nvSpPr>
        <p:spPr>
          <a:xfrm>
            <a:off x="9140576" y="2188399"/>
            <a:ext cx="2157573"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dirty="0">
                <a:solidFill>
                  <a:srgbClr val="29BA74"/>
                </a:solidFill>
              </a:rPr>
              <a:t>/10</a:t>
            </a:r>
          </a:p>
        </p:txBody>
      </p:sp>
      <p:sp>
        <p:nvSpPr>
          <p:cNvPr id="26" name="TextBox 25">
            <a:extLst>
              <a:ext uri="{FF2B5EF4-FFF2-40B4-BE49-F238E27FC236}">
                <a16:creationId xmlns:a16="http://schemas.microsoft.com/office/drawing/2014/main" id="{84019290-C28D-104F-8AE1-8A4E220369E9}"/>
              </a:ext>
            </a:extLst>
          </p:cNvPr>
          <p:cNvSpPr txBox="1"/>
          <p:nvPr/>
        </p:nvSpPr>
        <p:spPr>
          <a:xfrm>
            <a:off x="2229492" y="2768890"/>
            <a:ext cx="3866506"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r>
              <a:rPr lang="fr-FR" sz="1400" dirty="0">
                <a:solidFill>
                  <a:srgbClr val="575757"/>
                </a:solidFill>
              </a:rPr>
              <a:t>Qualité de la prédiction mesurée en calculant la métrique</a:t>
            </a:r>
            <a:r>
              <a:rPr lang="fr-FR" sz="1400" dirty="0">
                <a:solidFill>
                  <a:srgbClr val="E71C57"/>
                </a:solidFill>
              </a:rPr>
              <a:t> </a:t>
            </a:r>
            <a:r>
              <a:rPr lang="fr-FR" sz="1400" dirty="0">
                <a:solidFill>
                  <a:srgbClr val="575757"/>
                </a:solidFill>
              </a:rPr>
              <a:t>RMSE</a:t>
            </a:r>
            <a:r>
              <a:rPr lang="fr-FR" sz="1400" dirty="0">
                <a:solidFill>
                  <a:srgbClr val="E71C57"/>
                </a:solidFill>
              </a:rPr>
              <a:t> </a:t>
            </a:r>
            <a:r>
              <a:rPr lang="fr-FR" sz="1400" dirty="0">
                <a:solidFill>
                  <a:srgbClr val="575757"/>
                </a:solidFill>
              </a:rPr>
              <a:t>pour les prédictions des deux variables d’intérêt</a:t>
            </a:r>
            <a:r>
              <a:rPr lang="fr-FR" sz="1400" baseline="30000" dirty="0">
                <a:solidFill>
                  <a:srgbClr val="575757"/>
                </a:solidFill>
              </a:rPr>
              <a:t>1</a:t>
            </a:r>
            <a:r>
              <a:rPr lang="fr-FR" sz="1400" dirty="0">
                <a:solidFill>
                  <a:srgbClr val="575757"/>
                </a:solidFill>
                <a:latin typeface="Trebuchet MS" panose="020B0703020202090204" pitchFamily="34" charset="0"/>
              </a:rPr>
              <a:t> </a:t>
            </a:r>
            <a:r>
              <a:rPr lang="fr-FR" sz="1400" dirty="0">
                <a:solidFill>
                  <a:schemeClr val="tx1">
                    <a:lumMod val="100000"/>
                  </a:schemeClr>
                </a:solidFill>
                <a:latin typeface="Trebuchet MS" panose="020B0703020202090204" pitchFamily="34" charset="0"/>
              </a:rPr>
              <a:t>pour les 3 axes d’intérêt</a:t>
            </a:r>
            <a:r>
              <a:rPr lang="fr-FR" sz="1400" baseline="30000" dirty="0">
                <a:solidFill>
                  <a:schemeClr val="tx1">
                    <a:lumMod val="100000"/>
                  </a:schemeClr>
                </a:solidFill>
                <a:latin typeface="Trebuchet MS" panose="020B0703020202090204" pitchFamily="34" charset="0"/>
              </a:rPr>
              <a:t>2</a:t>
            </a:r>
            <a:r>
              <a:rPr lang="fr-FR" sz="1400" dirty="0">
                <a:solidFill>
                  <a:schemeClr val="tx1">
                    <a:lumMod val="100000"/>
                  </a:schemeClr>
                </a:solidFill>
                <a:latin typeface="Trebuchet MS" panose="020B0703020202090204" pitchFamily="34" charset="0"/>
              </a:rPr>
              <a:t> pour les dates du 11/12 au 16/12</a:t>
            </a:r>
            <a:endParaRPr lang="fr-FR" sz="1400" dirty="0">
              <a:solidFill>
                <a:srgbClr val="E71C57"/>
              </a:solidFill>
            </a:endParaRPr>
          </a:p>
        </p:txBody>
      </p:sp>
      <p:sp>
        <p:nvSpPr>
          <p:cNvPr id="27" name="Content Placeholder 5">
            <a:extLst>
              <a:ext uri="{FF2B5EF4-FFF2-40B4-BE49-F238E27FC236}">
                <a16:creationId xmlns:a16="http://schemas.microsoft.com/office/drawing/2014/main" id="{40D6C259-F79C-7F4B-9FB1-13ADA47D712E}"/>
              </a:ext>
            </a:extLst>
          </p:cNvPr>
          <p:cNvSpPr txBox="1">
            <a:spLocks/>
          </p:cNvSpPr>
          <p:nvPr/>
        </p:nvSpPr>
        <p:spPr>
          <a:xfrm>
            <a:off x="630000" y="6346608"/>
            <a:ext cx="10933200" cy="323412"/>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2" indent="0">
              <a:lnSpc>
                <a:spcPct val="110000"/>
              </a:lnSpc>
              <a:spcBef>
                <a:spcPts val="600"/>
              </a:spcBef>
              <a:buClrTx/>
              <a:buFont typeface="Arial" panose="020B0604020202020204" pitchFamily="34" charset="0"/>
              <a:buChar char="​"/>
            </a:pPr>
            <a:r>
              <a:rPr lang="fr-FR" altLang="fr-FR" sz="1000" dirty="0">
                <a:solidFill>
                  <a:srgbClr val="575757"/>
                </a:solidFill>
              </a:rPr>
              <a:t>1. </a:t>
            </a:r>
            <a:r>
              <a:rPr lang="fr-FR" altLang="fr-FR" sz="1000" dirty="0">
                <a:solidFill>
                  <a:schemeClr val="tx1">
                    <a:lumMod val="100000"/>
                  </a:schemeClr>
                </a:solidFill>
                <a:latin typeface="Trebuchet MS" panose="020B0703020202090204" pitchFamily="34" charset="0"/>
              </a:rPr>
              <a:t>D</a:t>
            </a:r>
            <a:r>
              <a:rPr lang="fr-FR" sz="1000" dirty="0">
                <a:solidFill>
                  <a:schemeClr val="tx1">
                    <a:lumMod val="100000"/>
                  </a:schemeClr>
                </a:solidFill>
                <a:latin typeface="Trebuchet MS" panose="020B0703020202090204" pitchFamily="34" charset="0"/>
              </a:rPr>
              <a:t>ébit horaire et taux d’occupation horaire de la voie; 2. Avenue des Champs Elysées / Rue de la Convention / Rue des Saints Pères</a:t>
            </a:r>
          </a:p>
        </p:txBody>
      </p:sp>
      <p:sp>
        <p:nvSpPr>
          <p:cNvPr id="28" name="TextBox 27">
            <a:extLst>
              <a:ext uri="{FF2B5EF4-FFF2-40B4-BE49-F238E27FC236}">
                <a16:creationId xmlns:a16="http://schemas.microsoft.com/office/drawing/2014/main" id="{6723BD9B-ED2A-2B47-A047-8E936540CBE6}"/>
              </a:ext>
            </a:extLst>
          </p:cNvPr>
          <p:cNvSpPr txBox="1"/>
          <p:nvPr/>
        </p:nvSpPr>
        <p:spPr>
          <a:xfrm>
            <a:off x="7325473" y="2768890"/>
            <a:ext cx="3972661"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r>
              <a:rPr lang="fr-FR" sz="1400" dirty="0">
                <a:solidFill>
                  <a:srgbClr val="575757"/>
                </a:solidFill>
              </a:rPr>
              <a:t>En cas d’égalité, la meilleure performance en Data Science (i.e. meilleure métrique) l’emportera</a:t>
            </a:r>
            <a:endParaRPr lang="fr-FR" sz="1400" dirty="0">
              <a:solidFill>
                <a:srgbClr val="E71C57"/>
              </a:solidFill>
            </a:endParaRPr>
          </a:p>
        </p:txBody>
      </p:sp>
      <p:sp>
        <p:nvSpPr>
          <p:cNvPr id="30" name="TextBox 29">
            <a:extLst>
              <a:ext uri="{FF2B5EF4-FFF2-40B4-BE49-F238E27FC236}">
                <a16:creationId xmlns:a16="http://schemas.microsoft.com/office/drawing/2014/main" id="{E9444C6D-BF01-1F44-899B-AF1A1473E9C2}"/>
              </a:ext>
            </a:extLst>
          </p:cNvPr>
          <p:cNvSpPr txBox="1"/>
          <p:nvPr/>
        </p:nvSpPr>
        <p:spPr>
          <a:xfrm>
            <a:off x="2229492" y="4330562"/>
            <a:ext cx="3866506"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r>
              <a:rPr lang="fr-FR" sz="1400" dirty="0">
                <a:solidFill>
                  <a:srgbClr val="575757"/>
                </a:solidFill>
              </a:rPr>
              <a:t>Qualité de la présentation du livrable 1</a:t>
            </a:r>
          </a:p>
          <a:p>
            <a:pPr marL="0" lvl="2"/>
            <a:r>
              <a:rPr lang="fr-FR" sz="1400" dirty="0">
                <a:solidFill>
                  <a:srgbClr val="575757"/>
                </a:solidFill>
              </a:rPr>
              <a:t>Qualité de la proposition de solution pour optimiser le processus de livraison de </a:t>
            </a:r>
            <a:r>
              <a:rPr lang="fr-FR" sz="1400" dirty="0" err="1">
                <a:solidFill>
                  <a:srgbClr val="575757"/>
                </a:solidFill>
              </a:rPr>
              <a:t>LivraisonCo</a:t>
            </a:r>
            <a:endParaRPr lang="fr-FR" sz="1400" dirty="0">
              <a:solidFill>
                <a:srgbClr val="575757"/>
              </a:solidFill>
            </a:endParaRPr>
          </a:p>
          <a:p>
            <a:pPr marL="0" lvl="2"/>
            <a:r>
              <a:rPr lang="fr-FR" sz="1400" dirty="0">
                <a:solidFill>
                  <a:srgbClr val="575757"/>
                </a:solidFill>
              </a:rPr>
              <a:t>Qualité de la présentation</a:t>
            </a:r>
            <a:endParaRPr lang="fr-FR" sz="1400" dirty="0">
              <a:solidFill>
                <a:srgbClr val="E71C57"/>
              </a:solidFill>
            </a:endParaRPr>
          </a:p>
        </p:txBody>
      </p:sp>
      <p:sp>
        <p:nvSpPr>
          <p:cNvPr id="31" name="TextBox 30">
            <a:extLst>
              <a:ext uri="{FF2B5EF4-FFF2-40B4-BE49-F238E27FC236}">
                <a16:creationId xmlns:a16="http://schemas.microsoft.com/office/drawing/2014/main" id="{EE760588-0E97-024F-B13E-3EB67816DBF4}"/>
              </a:ext>
            </a:extLst>
          </p:cNvPr>
          <p:cNvSpPr txBox="1"/>
          <p:nvPr/>
        </p:nvSpPr>
        <p:spPr>
          <a:xfrm>
            <a:off x="7325473" y="3739796"/>
            <a:ext cx="2830040"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dirty="0">
                <a:solidFill>
                  <a:srgbClr val="29BA74"/>
                </a:solidFill>
              </a:rPr>
              <a:t>Pour les vainqueurs</a:t>
            </a:r>
          </a:p>
        </p:txBody>
      </p:sp>
      <p:sp>
        <p:nvSpPr>
          <p:cNvPr id="32" name="TextBox 31">
            <a:extLst>
              <a:ext uri="{FF2B5EF4-FFF2-40B4-BE49-F238E27FC236}">
                <a16:creationId xmlns:a16="http://schemas.microsoft.com/office/drawing/2014/main" id="{BA0B2C16-594F-1642-A9F0-3A53E8F9E020}"/>
              </a:ext>
            </a:extLst>
          </p:cNvPr>
          <p:cNvSpPr txBox="1"/>
          <p:nvPr/>
        </p:nvSpPr>
        <p:spPr>
          <a:xfrm>
            <a:off x="7325473" y="4268917"/>
            <a:ext cx="3972661" cy="657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r>
              <a:rPr lang="fr-FR" sz="1400" dirty="0">
                <a:solidFill>
                  <a:srgbClr val="575757"/>
                </a:solidFill>
              </a:rPr>
              <a:t>Des cadeaux pour les 3 premiers groupes</a:t>
            </a:r>
            <a:endParaRPr lang="fr-FR" sz="1400" dirty="0">
              <a:solidFill>
                <a:srgbClr val="E71C57"/>
              </a:solidFill>
            </a:endParaRPr>
          </a:p>
        </p:txBody>
      </p:sp>
    </p:spTree>
    <p:extLst>
      <p:ext uri="{BB962C8B-B14F-4D97-AF65-F5344CB8AC3E}">
        <p14:creationId xmlns:p14="http://schemas.microsoft.com/office/powerpoint/2010/main" val="2595462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extLst>
              <p:ext uri="{D42A27DB-BD31-4B8C-83A1-F6EECF244321}">
                <p14:modId xmlns:p14="http://schemas.microsoft.com/office/powerpoint/2010/main" val="3288959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864" name="think-cell Slide" r:id="rId10" imgW="498" imgH="499" progId="TCLayout.ActiveDocument.1">
                  <p:embed/>
                </p:oleObj>
              </mc:Choice>
              <mc:Fallback>
                <p:oleObj name="think-cell Slide" r:id="rId10" imgW="498" imgH="499"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Oval 5"/>
          <p:cNvSpPr/>
          <p:nvPr>
            <p:custDataLst>
              <p:tags r:id="rId4"/>
            </p:custDataLst>
          </p:nvPr>
        </p:nvSpPr>
        <p:spPr>
          <a:xfrm>
            <a:off x="4714058" y="3282696"/>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chemeClr val="tx1">
                  <a:lumMod val="100000"/>
                </a:schemeClr>
              </a:solidFill>
              <a:latin typeface="Trebuchet MS" panose="020B0603020202020204" pitchFamily="34" charset="0"/>
            </a:endParaRPr>
          </a:p>
        </p:txBody>
      </p:sp>
      <p:pic>
        <p:nvPicPr>
          <p:cNvPr id="5" name="Picture 4"/>
          <p:cNvPicPr>
            <a:picLocks/>
          </p:cNvPicPr>
          <p:nvPr>
            <p:custDataLst>
              <p:tags r:id="rId5"/>
            </p:custDataLst>
          </p:nvPr>
        </p:nvPicPr>
        <p:blipFill>
          <a:blip r:embed="rId12">
            <a:extLst>
              <a:ext uri="{28A0092B-C50C-407E-A947-70E740481C1C}">
                <a14:useLocalDpi xmlns:a14="http://schemas.microsoft.com/office/drawing/2010/main" val="0"/>
              </a:ext>
            </a:extLst>
          </a:blip>
          <a:stretch>
            <a:fillRect/>
          </a:stretch>
        </p:blipFill>
        <p:spPr>
          <a:xfrm>
            <a:off x="4714058" y="3282696"/>
            <a:ext cx="293147" cy="292608"/>
          </a:xfrm>
          <a:prstGeom prst="rect">
            <a:avLst/>
          </a:prstGeom>
        </p:spPr>
      </p:pic>
      <p:sp>
        <p:nvSpPr>
          <p:cNvPr id="4" name="Rectangle 3">
            <a:hlinkClick r:id="rId13" action="ppaction://hlinksldjump"/>
          </p:cNvPr>
          <p:cNvSpPr/>
          <p:nvPr>
            <p:custDataLst>
              <p:tags r:id="rId6"/>
            </p:custDataLst>
          </p:nvPr>
        </p:nvSpPr>
        <p:spPr>
          <a:xfrm>
            <a:off x="5166432" y="3241321"/>
            <a:ext cx="5296322"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fr-FR" sz="2400">
                <a:solidFill>
                  <a:schemeClr val="tx1">
                    <a:lumMod val="100000"/>
                  </a:schemeClr>
                </a:solidFill>
                <a:latin typeface="Trebuchet MS" panose="020B0603020202020204" pitchFamily="34" charset="0"/>
              </a:rPr>
              <a:t>Composition des équipes et calendrier</a:t>
            </a:r>
            <a:endParaRPr lang="en-US" sz="2400">
              <a:solidFill>
                <a:schemeClr val="tx1">
                  <a:lumMod val="100000"/>
                </a:schemeClr>
              </a:solidFill>
              <a:latin typeface="Trebuchet MS" panose="020B0603020202020204" pitchFamily="34" charset="0"/>
            </a:endParaRPr>
          </a:p>
        </p:txBody>
      </p:sp>
      <p:sp>
        <p:nvSpPr>
          <p:cNvPr id="3" name="Rectangle 2">
            <a:hlinkClick r:id="rId14" action="ppaction://hlinksldjump"/>
          </p:cNvPr>
          <p:cNvSpPr/>
          <p:nvPr>
            <p:custDataLst>
              <p:tags r:id="rId7"/>
            </p:custDataLst>
          </p:nvPr>
        </p:nvSpPr>
        <p:spPr>
          <a:xfrm>
            <a:off x="5166432" y="2675461"/>
            <a:ext cx="5296322" cy="37536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fr-FR" sz="2400" dirty="0">
                <a:solidFill>
                  <a:schemeClr val="tx1">
                    <a:lumMod val="60000"/>
                    <a:lumOff val="40000"/>
                  </a:schemeClr>
                </a:solidFill>
                <a:latin typeface="Trebuchet MS" panose="020B0603020202020204" pitchFamily="34" charset="0"/>
              </a:rPr>
              <a:t>Présentation du </a:t>
            </a:r>
            <a:r>
              <a:rPr lang="fr-FR" sz="2400" dirty="0" err="1">
                <a:solidFill>
                  <a:schemeClr val="tx1">
                    <a:lumMod val="60000"/>
                    <a:lumOff val="40000"/>
                  </a:schemeClr>
                </a:solidFill>
                <a:latin typeface="Trebuchet MS" panose="020B0603020202020204" pitchFamily="34" charset="0"/>
              </a:rPr>
              <a:t>datathon</a:t>
            </a:r>
            <a:endParaRPr lang="en-US" sz="2400" dirty="0">
              <a:solidFill>
                <a:schemeClr val="tx1">
                  <a:lumMod val="60000"/>
                  <a:lumOff val="40000"/>
                </a:schemeClr>
              </a:solidFill>
              <a:latin typeface="Trebuchet MS" panose="020B0603020202020204" pitchFamily="34" charset="0"/>
            </a:endParaRPr>
          </a:p>
        </p:txBody>
      </p:sp>
      <p:sp>
        <p:nvSpPr>
          <p:cNvPr id="2" name="Title 1"/>
          <p:cNvSpPr>
            <a:spLocks noGrp="1"/>
          </p:cNvSpPr>
          <p:nvPr>
            <p:ph type="title"/>
            <p:custDataLst>
              <p:tags r:id="rId8"/>
            </p:custDataLst>
          </p:nvPr>
        </p:nvSpPr>
        <p:spPr/>
        <p:txBody>
          <a:bodyPr/>
          <a:lstStyle/>
          <a:p>
            <a:r>
              <a:rPr lang="en-US"/>
              <a:t>Agenda</a:t>
            </a:r>
          </a:p>
        </p:txBody>
      </p:sp>
    </p:spTree>
    <p:custDataLst>
      <p:tags r:id="rId2"/>
    </p:custDataLst>
    <p:extLst>
      <p:ext uri="{BB962C8B-B14F-4D97-AF65-F5344CB8AC3E}">
        <p14:creationId xmlns:p14="http://schemas.microsoft.com/office/powerpoint/2010/main" val="3513568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49308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117"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3" name="Title 2"/>
          <p:cNvSpPr>
            <a:spLocks noGrp="1"/>
          </p:cNvSpPr>
          <p:nvPr>
            <p:ph type="title"/>
          </p:nvPr>
        </p:nvSpPr>
        <p:spPr>
          <a:xfrm>
            <a:off x="630000" y="622800"/>
            <a:ext cx="10933200" cy="470898"/>
          </a:xfrm>
        </p:spPr>
        <p:txBody>
          <a:bodyPr vert="horz"/>
          <a:lstStyle/>
          <a:p>
            <a:r>
              <a:rPr lang="fr-FR" dirty="0"/>
              <a:t>Equipes de 5/6 personnes à composer</a:t>
            </a:r>
          </a:p>
        </p:txBody>
      </p:sp>
      <p:sp>
        <p:nvSpPr>
          <p:cNvPr id="5" name="TextBox 4">
            <a:extLst>
              <a:ext uri="{FF2B5EF4-FFF2-40B4-BE49-F238E27FC236}">
                <a16:creationId xmlns:a16="http://schemas.microsoft.com/office/drawing/2014/main" id="{F928D932-D608-F642-BFB0-E3E57AE23A77}"/>
              </a:ext>
            </a:extLst>
          </p:cNvPr>
          <p:cNvSpPr txBox="1"/>
          <p:nvPr/>
        </p:nvSpPr>
        <p:spPr>
          <a:xfrm>
            <a:off x="630000" y="1946787"/>
            <a:ext cx="10057665" cy="42377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7625" lvl="1" indent="312738">
              <a:buClr>
                <a:schemeClr val="tx2">
                  <a:lumMod val="100000"/>
                </a:schemeClr>
              </a:buClr>
              <a:buSzPct val="100000"/>
              <a:buFont typeface="Trebuchet MS" panose="020B0703020202090204" pitchFamily="34" charset="0"/>
              <a:buChar char="•"/>
            </a:pPr>
            <a:r>
              <a:rPr lang="en-FR" sz="2000" dirty="0">
                <a:solidFill>
                  <a:schemeClr val="tx1">
                    <a:lumMod val="100000"/>
                  </a:schemeClr>
                </a:solidFill>
                <a:latin typeface="Trebuchet MS" panose="020B0703020202090204" pitchFamily="34" charset="0"/>
              </a:rPr>
              <a:t>Le datathon se déroulera par équipes de 5/6 personnes</a:t>
            </a:r>
          </a:p>
          <a:p>
            <a:pPr marL="47625" lvl="1" indent="225425">
              <a:buClr>
                <a:schemeClr val="tx2">
                  <a:lumMod val="100000"/>
                </a:schemeClr>
              </a:buClr>
              <a:buSzPct val="100000"/>
              <a:buFont typeface="Trebuchet MS" panose="020B0703020202090204" pitchFamily="34" charset="0"/>
              <a:buChar char="•"/>
            </a:pPr>
            <a:endParaRPr lang="en-FR" sz="2000" dirty="0">
              <a:solidFill>
                <a:schemeClr val="tx1">
                  <a:lumMod val="100000"/>
                </a:schemeClr>
              </a:solidFill>
              <a:latin typeface="Trebuchet MS" panose="020B0703020202090204" pitchFamily="34" charset="0"/>
            </a:endParaRPr>
          </a:p>
          <a:p>
            <a:pPr marL="47625" lvl="1" indent="312738">
              <a:buClr>
                <a:schemeClr val="tx2">
                  <a:lumMod val="100000"/>
                </a:schemeClr>
              </a:buClr>
              <a:buSzPct val="100000"/>
              <a:buFont typeface="Trebuchet MS" panose="020B0703020202090204" pitchFamily="34" charset="0"/>
              <a:buChar char="•"/>
            </a:pPr>
            <a:r>
              <a:rPr lang="en-FR" sz="2000" dirty="0">
                <a:solidFill>
                  <a:schemeClr val="tx1">
                    <a:lumMod val="100000"/>
                  </a:schemeClr>
                </a:solidFill>
                <a:latin typeface="Trebuchet MS" panose="020B0703020202090204" pitchFamily="34" charset="0"/>
              </a:rPr>
              <a:t>Vous avez 2 jours pour constituer les équipes et vous attribuer un nom</a:t>
            </a:r>
          </a:p>
          <a:p>
            <a:pPr marL="47625" lvl="1" indent="225425">
              <a:buClr>
                <a:schemeClr val="tx2">
                  <a:lumMod val="100000"/>
                </a:schemeClr>
              </a:buClr>
              <a:buSzPct val="100000"/>
              <a:buFont typeface="Trebuchet MS" panose="020B0703020202090204" pitchFamily="34" charset="0"/>
              <a:buChar char="•"/>
            </a:pPr>
            <a:endParaRPr lang="en-FR" sz="2000" dirty="0">
              <a:solidFill>
                <a:schemeClr val="tx1">
                  <a:lumMod val="100000"/>
                </a:schemeClr>
              </a:solidFill>
              <a:latin typeface="Trebuchet MS" panose="020B0703020202090204" pitchFamily="34" charset="0"/>
            </a:endParaRPr>
          </a:p>
          <a:p>
            <a:pPr marL="47625" lvl="1" indent="312738">
              <a:buClr>
                <a:schemeClr val="tx2">
                  <a:lumMod val="100000"/>
                </a:schemeClr>
              </a:buClr>
              <a:buSzPct val="100000"/>
              <a:buFont typeface="Trebuchet MS" panose="020B0703020202090204" pitchFamily="34" charset="0"/>
              <a:buChar char="•"/>
            </a:pPr>
            <a:r>
              <a:rPr lang="en-FR" sz="2000" dirty="0">
                <a:solidFill>
                  <a:schemeClr val="tx1">
                    <a:lumMod val="100000"/>
                  </a:schemeClr>
                </a:solidFill>
                <a:latin typeface="Trebuchet MS" panose="020B0703020202090204" pitchFamily="34" charset="0"/>
              </a:rPr>
              <a:t>Quand votre équipe est prête, veuillez envoyer la composition des membres de   l’équipe et le nom choisi par mail à </a:t>
            </a:r>
            <a:r>
              <a:rPr lang="en-FR" sz="2000" dirty="0">
                <a:solidFill>
                  <a:schemeClr val="tx2"/>
                </a:solidFill>
                <a:latin typeface="Trebuchet MS" panose="020B0703020202090204" pitchFamily="34" charset="0"/>
              </a:rPr>
              <a:t>tusevo.elodie@bcg.com</a:t>
            </a:r>
          </a:p>
        </p:txBody>
      </p:sp>
    </p:spTree>
    <p:extLst>
      <p:ext uri="{BB962C8B-B14F-4D97-AF65-F5344CB8AC3E}">
        <p14:creationId xmlns:p14="http://schemas.microsoft.com/office/powerpoint/2010/main" val="3282712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44" hidden="1"/>
          <p:cNvGraphicFramePr>
            <a:graphicFrameLocks/>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235546" name="think-cell Slide" r:id="rId6" imgW="0" imgH="0" progId="TCLayout.ActiveDocument.1">
                  <p:embed/>
                </p:oleObj>
              </mc:Choice>
              <mc:Fallback>
                <p:oleObj name="think-cell Slide" r:id="rId6" imgW="0" imgH="0" progId="TCLayout.ActiveDocument.1">
                  <p:embed/>
                  <p:pic>
                    <p:nvPicPr>
                      <p:cNvPr id="4098" name="Rectangle 4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4099" name="Rectangle 2"/>
          <p:cNvSpPr>
            <a:spLocks noGrp="1" noChangeArrowheads="1"/>
          </p:cNvSpPr>
          <p:nvPr>
            <p:ph type="title"/>
          </p:nvPr>
        </p:nvSpPr>
        <p:spPr/>
        <p:txBody>
          <a:bodyPr/>
          <a:lstStyle/>
          <a:p>
            <a:pPr eaLnBrk="1" hangingPunct="1"/>
            <a:r>
              <a:rPr lang="fr-FR" altLang="fr-FR" dirty="0"/>
              <a:t>Calendrier de l'étude de cas</a:t>
            </a:r>
          </a:p>
        </p:txBody>
      </p:sp>
      <p:sp>
        <p:nvSpPr>
          <p:cNvPr id="4100" name="AutoShape 16"/>
          <p:cNvSpPr>
            <a:spLocks noChangeArrowheads="1"/>
          </p:cNvSpPr>
          <p:nvPr/>
        </p:nvSpPr>
        <p:spPr bwMode="auto">
          <a:xfrm>
            <a:off x="2588665" y="1429317"/>
            <a:ext cx="2305551" cy="533400"/>
          </a:xfrm>
          <a:prstGeom prst="homePlate">
            <a:avLst>
              <a:gd name="adj" fmla="val 24619"/>
            </a:avLst>
          </a:prstGeom>
          <a:solidFill>
            <a:schemeClr val="tx2"/>
          </a:solidFill>
          <a:ln w="9525" algn="ctr">
            <a:solidFill>
              <a:schemeClr val="bg1"/>
            </a:solidFill>
            <a:miter lim="800000"/>
            <a:headEnd/>
            <a:tailEnd/>
          </a:ln>
        </p:spPr>
        <p:txBody>
          <a:bodyPr lIns="182880" tIns="91440" bIns="91440"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r>
              <a:rPr lang="fr-FR" altLang="fr-FR" sz="1400">
                <a:solidFill>
                  <a:schemeClr val="bg1"/>
                </a:solidFill>
                <a:latin typeface="+mj-lt"/>
              </a:rPr>
              <a:t>Lancement</a:t>
            </a:r>
          </a:p>
        </p:txBody>
      </p:sp>
      <p:sp>
        <p:nvSpPr>
          <p:cNvPr id="4101" name="AutoShape 18"/>
          <p:cNvSpPr>
            <a:spLocks noChangeArrowheads="1"/>
          </p:cNvSpPr>
          <p:nvPr/>
        </p:nvSpPr>
        <p:spPr bwMode="auto">
          <a:xfrm>
            <a:off x="9273731" y="1429317"/>
            <a:ext cx="2305551" cy="533400"/>
          </a:xfrm>
          <a:prstGeom prst="chevron">
            <a:avLst>
              <a:gd name="adj" fmla="val 24363"/>
            </a:avLst>
          </a:prstGeom>
          <a:solidFill>
            <a:schemeClr val="tx2"/>
          </a:solidFill>
          <a:ln w="9525" algn="ctr">
            <a:solidFill>
              <a:schemeClr val="bg1"/>
            </a:solidFill>
            <a:miter lim="800000"/>
            <a:headEnd/>
            <a:tailEnd/>
          </a:ln>
        </p:spPr>
        <p:txBody>
          <a:bodyPr lIns="182880" tIns="91440" bIns="91440"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r>
              <a:rPr lang="fr-FR" altLang="fr-FR" sz="1400" dirty="0">
                <a:solidFill>
                  <a:schemeClr val="bg1"/>
                </a:solidFill>
                <a:latin typeface="+mj-lt"/>
              </a:rPr>
              <a:t>Conclusion du </a:t>
            </a:r>
            <a:r>
              <a:rPr lang="fr-FR" altLang="fr-FR" sz="1400" dirty="0" err="1">
                <a:solidFill>
                  <a:schemeClr val="bg1"/>
                </a:solidFill>
                <a:latin typeface="+mj-lt"/>
              </a:rPr>
              <a:t>datathon</a:t>
            </a:r>
            <a:endParaRPr lang="fr-FR" altLang="fr-FR" sz="1400" dirty="0">
              <a:solidFill>
                <a:schemeClr val="bg1"/>
              </a:solidFill>
              <a:latin typeface="+mj-lt"/>
            </a:endParaRPr>
          </a:p>
        </p:txBody>
      </p:sp>
      <p:sp>
        <p:nvSpPr>
          <p:cNvPr id="4102" name="Rectangle 30"/>
          <p:cNvSpPr>
            <a:spLocks noChangeArrowheads="1"/>
          </p:cNvSpPr>
          <p:nvPr/>
        </p:nvSpPr>
        <p:spPr bwMode="auto">
          <a:xfrm>
            <a:off x="2557194" y="2712437"/>
            <a:ext cx="2305551"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Présentation de l'étude de cas</a:t>
            </a:r>
          </a:p>
          <a:p>
            <a:pPr eaLnBrk="1" hangingPunct="1">
              <a:buSzPct val="100000"/>
              <a:buFont typeface="Trebuchet MS" panose="020B0603020202020204" pitchFamily="34" charset="0"/>
              <a:buChar char="​"/>
            </a:pPr>
            <a:endParaRPr lang="fr-FR" altLang="fr-FR" dirty="0">
              <a:solidFill>
                <a:schemeClr val="tx1">
                  <a:lumMod val="100000"/>
                </a:schemeClr>
              </a:solidFill>
              <a:latin typeface="+mj-lt"/>
            </a:endParaRPr>
          </a:p>
        </p:txBody>
      </p:sp>
      <p:sp>
        <p:nvSpPr>
          <p:cNvPr id="4103" name="Rectangle 41"/>
          <p:cNvSpPr>
            <a:spLocks noChangeArrowheads="1"/>
          </p:cNvSpPr>
          <p:nvPr/>
        </p:nvSpPr>
        <p:spPr bwMode="auto">
          <a:xfrm>
            <a:off x="2558113" y="1967172"/>
            <a:ext cx="2305551"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nchor="t"/>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rgbClr val="E71C57"/>
                </a:solidFill>
                <a:latin typeface="+mj-lt"/>
              </a:rPr>
              <a:t>30 novembre, 17h30-18h30 </a:t>
            </a:r>
            <a:br>
              <a:rPr lang="fr-FR" altLang="fr-FR" dirty="0">
                <a:solidFill>
                  <a:schemeClr val="tx1">
                    <a:lumMod val="100000"/>
                  </a:schemeClr>
                </a:solidFill>
                <a:latin typeface="+mj-lt"/>
              </a:rPr>
            </a:br>
            <a:endParaRPr lang="fr-FR" altLang="fr-FR" dirty="0">
              <a:solidFill>
                <a:schemeClr val="tx1">
                  <a:lumMod val="100000"/>
                </a:schemeClr>
              </a:solidFill>
              <a:latin typeface="+mj-lt"/>
            </a:endParaRPr>
          </a:p>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Vidéo-conférence</a:t>
            </a:r>
          </a:p>
        </p:txBody>
      </p:sp>
      <p:sp>
        <p:nvSpPr>
          <p:cNvPr id="4104" name="Rectangle 46"/>
          <p:cNvSpPr>
            <a:spLocks noChangeArrowheads="1"/>
          </p:cNvSpPr>
          <p:nvPr/>
        </p:nvSpPr>
        <p:spPr bwMode="auto">
          <a:xfrm>
            <a:off x="4817020" y="2719716"/>
            <a:ext cx="2305551"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lstStyle>
            <a:lvl1pPr eaLnBrk="0" hangingPunct="0">
              <a:defRPr sz="1200" b="1">
                <a:solidFill>
                  <a:schemeClr val="tx1"/>
                </a:solidFill>
                <a:latin typeface="Arial" panose="020B0604020202020204" pitchFamily="34" charset="0"/>
                <a:cs typeface="Arial" panose="020B0604020202020204" pitchFamily="34" charset="0"/>
              </a:defRPr>
            </a:lvl1pPr>
            <a:lvl2pPr marL="360363" indent="-180975"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Séance de tutorat avec un data </a:t>
            </a:r>
            <a:r>
              <a:rPr lang="fr-FR" altLang="fr-FR" dirty="0" err="1">
                <a:solidFill>
                  <a:schemeClr val="tx1">
                    <a:lumMod val="100000"/>
                  </a:schemeClr>
                </a:solidFill>
                <a:latin typeface="+mj-lt"/>
              </a:rPr>
              <a:t>scientist</a:t>
            </a:r>
            <a:r>
              <a:rPr lang="fr-FR" altLang="fr-FR" dirty="0">
                <a:solidFill>
                  <a:schemeClr val="tx1">
                    <a:lumMod val="100000"/>
                  </a:schemeClr>
                </a:solidFill>
                <a:latin typeface="+mj-lt"/>
              </a:rPr>
              <a:t> de Gamma (15mn par équipe)</a:t>
            </a:r>
          </a:p>
        </p:txBody>
      </p:sp>
      <p:sp>
        <p:nvSpPr>
          <p:cNvPr id="4105" name="Rectangle 47"/>
          <p:cNvSpPr>
            <a:spLocks noChangeArrowheads="1"/>
          </p:cNvSpPr>
          <p:nvPr/>
        </p:nvSpPr>
        <p:spPr bwMode="auto">
          <a:xfrm>
            <a:off x="4817020" y="1967172"/>
            <a:ext cx="2305551"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nchor="t"/>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rgbClr val="E71C57"/>
                </a:solidFill>
                <a:latin typeface="+mj-lt"/>
              </a:rPr>
              <a:t>7 &amp; 8 décembre, horaires à définir par groupe</a:t>
            </a:r>
            <a:br>
              <a:rPr lang="fr-FR" altLang="fr-FR" dirty="0">
                <a:solidFill>
                  <a:srgbClr val="E71C57"/>
                </a:solidFill>
                <a:latin typeface="+mj-lt"/>
              </a:rPr>
            </a:br>
            <a:r>
              <a:rPr lang="fr-FR" altLang="fr-FR" dirty="0">
                <a:solidFill>
                  <a:schemeClr val="tx1">
                    <a:lumMod val="100000"/>
                  </a:schemeClr>
                </a:solidFill>
                <a:latin typeface="+mj-lt"/>
              </a:rPr>
              <a:t>Vidéo-conférence</a:t>
            </a:r>
          </a:p>
        </p:txBody>
      </p:sp>
      <p:sp>
        <p:nvSpPr>
          <p:cNvPr id="4106" name="AutoShape 17"/>
          <p:cNvSpPr>
            <a:spLocks noChangeArrowheads="1"/>
          </p:cNvSpPr>
          <p:nvPr/>
        </p:nvSpPr>
        <p:spPr bwMode="auto">
          <a:xfrm>
            <a:off x="4817020" y="1429317"/>
            <a:ext cx="2305551" cy="533400"/>
          </a:xfrm>
          <a:prstGeom prst="chevron">
            <a:avLst>
              <a:gd name="adj" fmla="val 24334"/>
            </a:avLst>
          </a:prstGeom>
          <a:solidFill>
            <a:schemeClr val="tx2"/>
          </a:solidFill>
          <a:ln w="9525" algn="ctr">
            <a:solidFill>
              <a:schemeClr val="bg1"/>
            </a:solidFill>
            <a:miter lim="800000"/>
            <a:headEnd/>
            <a:tailEnd/>
          </a:ln>
        </p:spPr>
        <p:txBody>
          <a:bodyPr lIns="182880" tIns="91440" bIns="91440"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r>
              <a:rPr lang="fr-FR" altLang="fr-FR" sz="1400" dirty="0">
                <a:solidFill>
                  <a:schemeClr val="bg1"/>
                </a:solidFill>
                <a:latin typeface="+mj-lt"/>
              </a:rPr>
              <a:t>« Case Team Meeting » (facultatif)</a:t>
            </a:r>
          </a:p>
        </p:txBody>
      </p:sp>
      <p:sp>
        <p:nvSpPr>
          <p:cNvPr id="4107" name="Rectangle 58"/>
          <p:cNvSpPr>
            <a:spLocks noChangeArrowheads="1"/>
          </p:cNvSpPr>
          <p:nvPr/>
        </p:nvSpPr>
        <p:spPr bwMode="auto">
          <a:xfrm>
            <a:off x="4817020" y="4546154"/>
            <a:ext cx="2305551" cy="1907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no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273050" indent="-1841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Venez avec vos questions sur les deux livrables (algorithme et présentation)</a:t>
            </a:r>
          </a:p>
        </p:txBody>
      </p:sp>
      <p:sp>
        <p:nvSpPr>
          <p:cNvPr id="4108" name="Rectangle 60"/>
          <p:cNvSpPr>
            <a:spLocks noChangeArrowheads="1"/>
          </p:cNvSpPr>
          <p:nvPr/>
        </p:nvSpPr>
        <p:spPr bwMode="auto">
          <a:xfrm>
            <a:off x="9273731" y="2719716"/>
            <a:ext cx="2305551"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pPr>
            <a:r>
              <a:rPr lang="fr-FR" altLang="fr-FR" dirty="0">
                <a:solidFill>
                  <a:schemeClr val="tx1">
                    <a:lumMod val="100000"/>
                  </a:schemeClr>
                </a:solidFill>
                <a:latin typeface="+mj-lt"/>
              </a:rPr>
              <a:t>Conclusion du </a:t>
            </a:r>
            <a:r>
              <a:rPr lang="fr-FR" altLang="fr-FR" dirty="0" err="1">
                <a:solidFill>
                  <a:schemeClr val="tx1">
                    <a:lumMod val="100000"/>
                  </a:schemeClr>
                </a:solidFill>
                <a:latin typeface="+mj-lt"/>
              </a:rPr>
              <a:t>datathon</a:t>
            </a:r>
            <a:r>
              <a:rPr lang="fr-FR" altLang="fr-FR" dirty="0">
                <a:solidFill>
                  <a:schemeClr val="tx1">
                    <a:lumMod val="100000"/>
                  </a:schemeClr>
                </a:solidFill>
                <a:latin typeface="+mj-lt"/>
              </a:rPr>
              <a:t>:</a:t>
            </a:r>
          </a:p>
          <a:p>
            <a:pPr marL="324000" lvl="1" indent="-216000" eaLnBrk="1" hangingPunct="1">
              <a:buClr>
                <a:srgbClr val="29BA74">
                  <a:lumMod val="100000"/>
                </a:srgbClr>
              </a:buClr>
              <a:buSzPct val="100000"/>
              <a:buFont typeface="Trebuchet MS" panose="020B0603020202020204" pitchFamily="34" charset="0"/>
              <a:buChar char="•"/>
            </a:pPr>
            <a:r>
              <a:rPr lang="fr-FR" altLang="fr-FR" b="0" dirty="0">
                <a:solidFill>
                  <a:schemeClr val="tx1">
                    <a:lumMod val="100000"/>
                  </a:schemeClr>
                </a:solidFill>
              </a:rPr>
              <a:t>Présentation d’une correction du livrable 2</a:t>
            </a:r>
          </a:p>
          <a:p>
            <a:pPr marL="324000" lvl="1" indent="-216000" eaLnBrk="1" hangingPunct="1">
              <a:buClr>
                <a:srgbClr val="29BA74">
                  <a:lumMod val="100000"/>
                </a:srgbClr>
              </a:buClr>
              <a:buSzPct val="100000"/>
              <a:buFont typeface="Trebuchet MS" panose="020B0603020202020204" pitchFamily="34" charset="0"/>
              <a:buChar char="•"/>
            </a:pPr>
            <a:r>
              <a:rPr lang="fr-FR" altLang="fr-FR" b="0" dirty="0">
                <a:solidFill>
                  <a:schemeClr val="tx1">
                    <a:lumMod val="100000"/>
                  </a:schemeClr>
                </a:solidFill>
              </a:rPr>
              <a:t>Annonce des résultats</a:t>
            </a:r>
          </a:p>
        </p:txBody>
      </p:sp>
      <p:sp>
        <p:nvSpPr>
          <p:cNvPr id="4109" name="Rectangle 61"/>
          <p:cNvSpPr>
            <a:spLocks noChangeArrowheads="1"/>
          </p:cNvSpPr>
          <p:nvPr/>
        </p:nvSpPr>
        <p:spPr bwMode="auto">
          <a:xfrm>
            <a:off x="9273731" y="1967172"/>
            <a:ext cx="2305551"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nchor="t"/>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rgbClr val="E71C57"/>
                </a:solidFill>
                <a:latin typeface="+mj-lt"/>
              </a:rPr>
              <a:t>17 décembre, 17h-18h</a:t>
            </a:r>
          </a:p>
          <a:p>
            <a:pPr eaLnBrk="1" hangingPunct="1">
              <a:buSzPct val="100000"/>
              <a:buFont typeface="Trebuchet MS" panose="020B0603020202020204" pitchFamily="34" charset="0"/>
              <a:buChar char="​"/>
            </a:pPr>
            <a:endParaRPr lang="fr-FR" altLang="fr-FR" dirty="0">
              <a:solidFill>
                <a:schemeClr val="tx1">
                  <a:lumMod val="100000"/>
                </a:schemeClr>
              </a:solidFill>
              <a:latin typeface="+mj-lt"/>
            </a:endParaRPr>
          </a:p>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Vidéo-conférence</a:t>
            </a:r>
          </a:p>
        </p:txBody>
      </p:sp>
      <p:sp>
        <p:nvSpPr>
          <p:cNvPr id="4111" name="Rectangle 68"/>
          <p:cNvSpPr>
            <a:spLocks noChangeArrowheads="1"/>
          </p:cNvSpPr>
          <p:nvPr/>
        </p:nvSpPr>
        <p:spPr bwMode="auto">
          <a:xfrm>
            <a:off x="630000" y="1998787"/>
            <a:ext cx="1574534" cy="554954"/>
          </a:xfrm>
          <a:prstGeom prst="rect">
            <a:avLst/>
          </a:prstGeom>
          <a:solidFill>
            <a:srgbClr val="C8C8C8"/>
          </a:solidFill>
          <a:ln w="9525" cap="flat" cmpd="sng" algn="ctr">
            <a:noFill/>
            <a:prstDash val="solid"/>
            <a:miter lim="800000"/>
            <a:headEnd type="none" w="lg" len="lg"/>
            <a:tailEnd type="none" w="lg" len="lg"/>
          </a:ln>
          <a:extLst>
            <a:ext uri="{91240B29-F687-4F45-9708-019B960494DF}">
              <a14:hiddenLine xmlns:a14="http://schemas.microsoft.com/office/drawing/2010/main" w="9525" cap="flat" cmpd="sng" algn="ctr">
                <a:solidFill>
                  <a:srgbClr val="E71C57"/>
                </a:solidFill>
                <a:prstDash val="solid"/>
                <a:miter lim="800000"/>
                <a:headEnd type="none" w="lg" len="lg"/>
                <a:tailEnd type="none" w="lg" len="lg"/>
              </a14:hiddenLine>
            </a:ext>
          </a:extLst>
        </p:spPr>
        <p:txBody>
          <a:bodyPr wrap="none"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a:solidFill>
                  <a:schemeClr val="tx1">
                    <a:lumMod val="100000"/>
                  </a:schemeClr>
                </a:solidFill>
                <a:latin typeface="+mj-lt"/>
              </a:rPr>
              <a:t>Date et lieu</a:t>
            </a:r>
          </a:p>
        </p:txBody>
      </p:sp>
      <p:sp>
        <p:nvSpPr>
          <p:cNvPr id="4112" name="Rectangle 72"/>
          <p:cNvSpPr>
            <a:spLocks noChangeArrowheads="1"/>
          </p:cNvSpPr>
          <p:nvPr/>
        </p:nvSpPr>
        <p:spPr bwMode="auto">
          <a:xfrm>
            <a:off x="630000" y="2729240"/>
            <a:ext cx="1574534" cy="1514182"/>
          </a:xfrm>
          <a:prstGeom prst="rect">
            <a:avLst/>
          </a:prstGeom>
          <a:solidFill>
            <a:srgbClr val="C8C8C8"/>
          </a:solidFill>
          <a:ln w="9525" cap="flat" cmpd="sng" algn="ctr">
            <a:noFill/>
            <a:prstDash val="solid"/>
            <a:miter lim="800000"/>
            <a:headEnd type="none" w="lg" len="lg"/>
            <a:tailEnd type="none" w="lg" len="lg"/>
          </a:ln>
          <a:extLst>
            <a:ext uri="{91240B29-F687-4F45-9708-019B960494DF}">
              <a14:hiddenLine xmlns:a14="http://schemas.microsoft.com/office/drawing/2010/main" w="9525" cap="flat" cmpd="sng" algn="ctr">
                <a:solidFill>
                  <a:srgbClr val="E71C57"/>
                </a:solidFill>
                <a:prstDash val="solid"/>
                <a:miter lim="800000"/>
                <a:headEnd type="none" w="lg" len="lg"/>
                <a:tailEnd type="none" w="lg" len="lg"/>
              </a14:hiddenLine>
            </a:ext>
          </a:extLst>
        </p:spPr>
        <p:txBody>
          <a:bodyPr wrap="none"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a:solidFill>
                  <a:schemeClr val="tx1">
                    <a:lumMod val="100000"/>
                  </a:schemeClr>
                </a:solidFill>
                <a:latin typeface="+mj-lt"/>
              </a:rPr>
              <a:t>Contenu</a:t>
            </a:r>
          </a:p>
        </p:txBody>
      </p:sp>
      <p:sp>
        <p:nvSpPr>
          <p:cNvPr id="4113" name="Rectangle 73"/>
          <p:cNvSpPr>
            <a:spLocks noChangeArrowheads="1"/>
          </p:cNvSpPr>
          <p:nvPr/>
        </p:nvSpPr>
        <p:spPr bwMode="auto">
          <a:xfrm>
            <a:off x="630000" y="4546154"/>
            <a:ext cx="1574534" cy="1907343"/>
          </a:xfrm>
          <a:prstGeom prst="rect">
            <a:avLst/>
          </a:prstGeom>
          <a:solidFill>
            <a:srgbClr val="C8C8C8"/>
          </a:solidFill>
          <a:ln w="9525" cap="flat" cmpd="sng" algn="ctr">
            <a:noFill/>
            <a:prstDash val="solid"/>
            <a:miter lim="800000"/>
            <a:headEnd type="none" w="lg" len="lg"/>
            <a:tailEnd type="none" w="lg" len="lg"/>
          </a:ln>
          <a:extLst>
            <a:ext uri="{91240B29-F687-4F45-9708-019B960494DF}">
              <a14:hiddenLine xmlns:a14="http://schemas.microsoft.com/office/drawing/2010/main" w="9525" cap="flat" cmpd="sng" algn="ctr">
                <a:solidFill>
                  <a:srgbClr val="E71C57"/>
                </a:solidFill>
                <a:prstDash val="solid"/>
                <a:miter lim="800000"/>
                <a:headEnd type="none" w="lg" len="lg"/>
                <a:tailEnd type="none" w="lg" len="lg"/>
              </a14:hiddenLine>
            </a:ext>
          </a:extLst>
        </p:spPr>
        <p:txBody>
          <a:bodyPr wrap="none"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Livrables</a:t>
            </a:r>
          </a:p>
        </p:txBody>
      </p:sp>
      <p:sp>
        <p:nvSpPr>
          <p:cNvPr id="4114" name="Rectangle 87"/>
          <p:cNvSpPr>
            <a:spLocks noChangeArrowheads="1"/>
          </p:cNvSpPr>
          <p:nvPr/>
        </p:nvSpPr>
        <p:spPr bwMode="auto">
          <a:xfrm>
            <a:off x="2559956" y="4546154"/>
            <a:ext cx="2305551" cy="1907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no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endParaRPr lang="fr-FR" altLang="fr-FR" dirty="0">
              <a:solidFill>
                <a:schemeClr val="tx1">
                  <a:lumMod val="100000"/>
                </a:schemeClr>
              </a:solidFill>
              <a:latin typeface="+mj-lt"/>
            </a:endParaRPr>
          </a:p>
        </p:txBody>
      </p:sp>
      <p:sp>
        <p:nvSpPr>
          <p:cNvPr id="4115" name="Line 95"/>
          <p:cNvSpPr>
            <a:spLocks noChangeShapeType="1"/>
          </p:cNvSpPr>
          <p:nvPr/>
        </p:nvSpPr>
        <p:spPr bwMode="auto">
          <a:xfrm>
            <a:off x="630001" y="2599462"/>
            <a:ext cx="10787867" cy="0"/>
          </a:xfrm>
          <a:prstGeom prst="line">
            <a:avLst/>
          </a:prstGeom>
          <a:noFill/>
          <a:ln w="9525" cap="flat" cmpd="sng" algn="ctr">
            <a:solidFill>
              <a:srgbClr val="6E6F73"/>
            </a:solidFill>
            <a:prstDash val="dash"/>
            <a:round/>
            <a:headEnd type="none" w="lg" len="lg"/>
            <a:tailEnd type="none" w="lg" len="lg"/>
          </a:ln>
          <a:extLst>
            <a:ext uri="{909E8E84-426E-40DD-AFC4-6F175D3DCCD1}">
              <a14:hiddenFill xmlns:a14="http://schemas.microsoft.com/office/drawing/2010/main">
                <a:noFill/>
              </a14:hiddenFill>
            </a:ext>
          </a:extLst>
        </p:spPr>
        <p:txBody>
          <a:bodyPr anchor="ctr"/>
          <a:lstStyle/>
          <a:p>
            <a:endParaRPr lang="en-US">
              <a:latin typeface="+mj-lt"/>
            </a:endParaRPr>
          </a:p>
        </p:txBody>
      </p:sp>
      <p:sp>
        <p:nvSpPr>
          <p:cNvPr id="4116" name="Line 97"/>
          <p:cNvSpPr>
            <a:spLocks noChangeShapeType="1"/>
          </p:cNvSpPr>
          <p:nvPr/>
        </p:nvSpPr>
        <p:spPr bwMode="auto">
          <a:xfrm>
            <a:off x="630000" y="4418921"/>
            <a:ext cx="10787867" cy="0"/>
          </a:xfrm>
          <a:prstGeom prst="line">
            <a:avLst/>
          </a:prstGeom>
          <a:noFill/>
          <a:ln w="9525" cap="flat" cmpd="sng" algn="ctr">
            <a:solidFill>
              <a:srgbClr val="6E6F73"/>
            </a:solidFill>
            <a:prstDash val="dash"/>
            <a:round/>
            <a:headEnd type="none" w="lg" len="lg"/>
            <a:tailEnd type="none" w="lg" len="lg"/>
          </a:ln>
          <a:extLst>
            <a:ext uri="{909E8E84-426E-40DD-AFC4-6F175D3DCCD1}">
              <a14:hiddenFill xmlns:a14="http://schemas.microsoft.com/office/drawing/2010/main">
                <a:noFill/>
              </a14:hiddenFill>
            </a:ext>
          </a:extLst>
        </p:spPr>
        <p:txBody>
          <a:bodyPr anchor="ctr"/>
          <a:lstStyle/>
          <a:p>
            <a:endParaRPr lang="en-US">
              <a:latin typeface="+mj-lt"/>
            </a:endParaRPr>
          </a:p>
        </p:txBody>
      </p:sp>
      <p:sp>
        <p:nvSpPr>
          <p:cNvPr id="33" name="AutoShape 17">
            <a:extLst>
              <a:ext uri="{FF2B5EF4-FFF2-40B4-BE49-F238E27FC236}">
                <a16:creationId xmlns:a16="http://schemas.microsoft.com/office/drawing/2014/main" id="{21742C8D-89EA-D549-87A2-F851C7C2A8E9}"/>
              </a:ext>
            </a:extLst>
          </p:cNvPr>
          <p:cNvSpPr>
            <a:spLocks noChangeArrowheads="1"/>
          </p:cNvSpPr>
          <p:nvPr/>
        </p:nvSpPr>
        <p:spPr bwMode="auto">
          <a:xfrm>
            <a:off x="7045375" y="1429317"/>
            <a:ext cx="2305551" cy="533400"/>
          </a:xfrm>
          <a:prstGeom prst="chevron">
            <a:avLst>
              <a:gd name="adj" fmla="val 24334"/>
            </a:avLst>
          </a:prstGeom>
          <a:solidFill>
            <a:schemeClr val="tx2"/>
          </a:solidFill>
          <a:ln w="9525" algn="ctr">
            <a:solidFill>
              <a:schemeClr val="bg1"/>
            </a:solidFill>
            <a:miter lim="800000"/>
            <a:headEnd/>
            <a:tailEnd/>
          </a:ln>
        </p:spPr>
        <p:txBody>
          <a:bodyPr lIns="182880" tIns="91440" bIns="91440" anchor="ctr"/>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r>
              <a:rPr lang="fr-FR" altLang="fr-FR" sz="1400" dirty="0">
                <a:solidFill>
                  <a:schemeClr val="bg1"/>
                </a:solidFill>
              </a:rPr>
              <a:t>Présentation au CEO</a:t>
            </a:r>
          </a:p>
        </p:txBody>
      </p:sp>
      <p:sp>
        <p:nvSpPr>
          <p:cNvPr id="3" name="TextBox 2">
            <a:extLst>
              <a:ext uri="{FF2B5EF4-FFF2-40B4-BE49-F238E27FC236}">
                <a16:creationId xmlns:a16="http://schemas.microsoft.com/office/drawing/2014/main" id="{616141B4-9ADB-BF4E-AD71-23BA28394800}"/>
              </a:ext>
            </a:extLst>
          </p:cNvPr>
          <p:cNvSpPr txBox="1"/>
          <p:nvPr/>
        </p:nvSpPr>
        <p:spPr>
          <a:xfrm>
            <a:off x="2011680" y="12366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35" name="Rectangle 60">
            <a:extLst>
              <a:ext uri="{FF2B5EF4-FFF2-40B4-BE49-F238E27FC236}">
                <a16:creationId xmlns:a16="http://schemas.microsoft.com/office/drawing/2014/main" id="{118CF9EC-465C-7D44-9329-3DEEC21C6960}"/>
              </a:ext>
            </a:extLst>
          </p:cNvPr>
          <p:cNvSpPr>
            <a:spLocks noChangeArrowheads="1"/>
          </p:cNvSpPr>
          <p:nvPr/>
        </p:nvSpPr>
        <p:spPr bwMode="auto">
          <a:xfrm>
            <a:off x="7044337" y="2719716"/>
            <a:ext cx="2305551"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Présentation finale du livrable 2 par groupe:</a:t>
            </a:r>
          </a:p>
          <a:p>
            <a:pPr marL="324000" lvl="1" indent="-216000" eaLnBrk="1" hangingPunct="1">
              <a:buClr>
                <a:srgbClr val="29BA74">
                  <a:lumMod val="100000"/>
                </a:srgbClr>
              </a:buClr>
              <a:buSzPct val="100000"/>
              <a:buFont typeface="Trebuchet MS" panose="020B0603020202020204" pitchFamily="34" charset="0"/>
              <a:buChar char="•"/>
            </a:pPr>
            <a:r>
              <a:rPr lang="fr-FR" altLang="fr-FR" b="0" dirty="0">
                <a:solidFill>
                  <a:schemeClr val="tx1">
                    <a:lumMod val="100000"/>
                  </a:schemeClr>
                </a:solidFill>
                <a:latin typeface="+mj-lt"/>
              </a:rPr>
              <a:t>15 min de présentation</a:t>
            </a:r>
          </a:p>
          <a:p>
            <a:pPr marL="324000" lvl="1" indent="-216000" eaLnBrk="1" hangingPunct="1">
              <a:buClr>
                <a:srgbClr val="29BA74">
                  <a:lumMod val="100000"/>
                </a:srgbClr>
              </a:buClr>
              <a:buSzPct val="100000"/>
              <a:buFont typeface="Trebuchet MS" panose="020B0603020202020204" pitchFamily="34" charset="0"/>
              <a:buChar char="•"/>
            </a:pPr>
            <a:r>
              <a:rPr lang="fr-FR" altLang="fr-FR" b="0" dirty="0">
                <a:solidFill>
                  <a:schemeClr val="tx1">
                    <a:lumMod val="100000"/>
                  </a:schemeClr>
                </a:solidFill>
                <a:latin typeface="+mj-lt"/>
              </a:rPr>
              <a:t>5 min de feedback</a:t>
            </a:r>
          </a:p>
        </p:txBody>
      </p:sp>
      <p:sp>
        <p:nvSpPr>
          <p:cNvPr id="36" name="Rectangle 61">
            <a:extLst>
              <a:ext uri="{FF2B5EF4-FFF2-40B4-BE49-F238E27FC236}">
                <a16:creationId xmlns:a16="http://schemas.microsoft.com/office/drawing/2014/main" id="{F38ABFBC-DC70-EB4B-8829-4BD81224BF54}"/>
              </a:ext>
            </a:extLst>
          </p:cNvPr>
          <p:cNvSpPr>
            <a:spLocks noChangeArrowheads="1"/>
          </p:cNvSpPr>
          <p:nvPr/>
        </p:nvSpPr>
        <p:spPr bwMode="auto">
          <a:xfrm>
            <a:off x="7044337" y="1967172"/>
            <a:ext cx="2305551"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nchor="t"/>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rgbClr val="E71C57"/>
                </a:solidFill>
                <a:latin typeface="+mj-lt"/>
              </a:rPr>
              <a:t>11-16 décembre, horaires à définir par groupe</a:t>
            </a:r>
          </a:p>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Vidéo-conférence</a:t>
            </a:r>
          </a:p>
        </p:txBody>
      </p:sp>
      <p:sp>
        <p:nvSpPr>
          <p:cNvPr id="37" name="Rectangle 62">
            <a:extLst>
              <a:ext uri="{FF2B5EF4-FFF2-40B4-BE49-F238E27FC236}">
                <a16:creationId xmlns:a16="http://schemas.microsoft.com/office/drawing/2014/main" id="{AF1E2782-6CE5-C443-9E1D-4CB037F99E45}"/>
              </a:ext>
            </a:extLst>
          </p:cNvPr>
          <p:cNvSpPr>
            <a:spLocks noChangeArrowheads="1"/>
          </p:cNvSpPr>
          <p:nvPr/>
        </p:nvSpPr>
        <p:spPr bwMode="auto">
          <a:xfrm>
            <a:off x="7044337" y="4546154"/>
            <a:ext cx="2413172" cy="1907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rIns="0">
            <a:no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360363" indent="-180975" eaLnBrk="0" hangingPunct="0">
              <a:defRPr sz="1200" b="1">
                <a:solidFill>
                  <a:schemeClr val="tx1"/>
                </a:solidFill>
                <a:latin typeface="Arial" panose="020B0604020202020204" pitchFamily="34" charset="0"/>
                <a:cs typeface="Arial" panose="020B0604020202020204" pitchFamily="34" charset="0"/>
              </a:defRPr>
            </a:lvl2pPr>
            <a:lvl3pPr marL="720725" indent="-180975"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rgbClr val="E71C57"/>
                </a:solidFill>
                <a:latin typeface="+mj-lt"/>
              </a:rPr>
              <a:t>A envoyer avant le 11/12/20 20h:</a:t>
            </a:r>
          </a:p>
          <a:p>
            <a:pPr eaLnBrk="1" hangingPunct="1">
              <a:buSzPct val="100000"/>
              <a:buFont typeface="Trebuchet MS" panose="020B0603020202020204" pitchFamily="34" charset="0"/>
              <a:buChar char="​"/>
            </a:pPr>
            <a:endParaRPr lang="fr-FR" altLang="fr-FR" dirty="0">
              <a:solidFill>
                <a:schemeClr val="tx1">
                  <a:lumMod val="100000"/>
                </a:schemeClr>
              </a:solidFill>
              <a:latin typeface="+mj-lt"/>
            </a:endParaRPr>
          </a:p>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Livrable 1:</a:t>
            </a:r>
          </a:p>
          <a:p>
            <a:pPr marL="324000" lvl="1" indent="-216000" eaLnBrk="1" hangingPunct="1">
              <a:buClr>
                <a:srgbClr val="29BA74">
                  <a:lumMod val="100000"/>
                </a:srgbClr>
              </a:buClr>
              <a:buSzPct val="100000"/>
              <a:buFont typeface="Trebuchet MS" panose="020B0603020202020204" pitchFamily="34" charset="0"/>
              <a:buChar char="•"/>
            </a:pPr>
            <a:r>
              <a:rPr lang="fr-FR" altLang="fr-FR" b="0" dirty="0">
                <a:solidFill>
                  <a:srgbClr val="575757">
                    <a:lumMod val="100000"/>
                  </a:srgbClr>
                </a:solidFill>
                <a:latin typeface="Trebuchet MS"/>
                <a:cs typeface="+mn-cs"/>
              </a:rPr>
              <a:t>Fichier .csv de prédiction</a:t>
            </a:r>
          </a:p>
          <a:p>
            <a:pPr marL="324000" lvl="1" indent="-216000" eaLnBrk="1" hangingPunct="1">
              <a:buClr>
                <a:srgbClr val="29BA74">
                  <a:lumMod val="100000"/>
                </a:srgbClr>
              </a:buClr>
              <a:buSzPct val="100000"/>
              <a:buFont typeface="Trebuchet MS" panose="020B0603020202020204" pitchFamily="34" charset="0"/>
              <a:buChar char="•"/>
            </a:pPr>
            <a:r>
              <a:rPr lang="fr-FR" altLang="fr-FR" b="0" dirty="0">
                <a:solidFill>
                  <a:srgbClr val="575757">
                    <a:lumMod val="100000"/>
                  </a:srgbClr>
                </a:solidFill>
                <a:latin typeface="Trebuchet MS"/>
                <a:cs typeface="+mn-cs"/>
              </a:rPr>
              <a:t>Code (notebook / repo / …)</a:t>
            </a:r>
          </a:p>
          <a:p>
            <a:pPr marL="324000" lvl="1" indent="-216000" eaLnBrk="1" hangingPunct="1">
              <a:buClr>
                <a:srgbClr val="29BA74">
                  <a:lumMod val="100000"/>
                </a:srgbClr>
              </a:buClr>
              <a:buSzPct val="100000"/>
              <a:buFont typeface="Trebuchet MS" panose="020B0603020202020204" pitchFamily="34" charset="0"/>
              <a:buChar char="•"/>
            </a:pPr>
            <a:endParaRPr lang="fr-FR" altLang="fr-FR" dirty="0">
              <a:solidFill>
                <a:schemeClr val="tx1">
                  <a:lumMod val="100000"/>
                </a:schemeClr>
              </a:solidFill>
              <a:latin typeface="+mj-lt"/>
            </a:endParaRPr>
          </a:p>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Livrable 2:</a:t>
            </a:r>
          </a:p>
          <a:p>
            <a:pPr marL="324000" lvl="1" indent="-216000" eaLnBrk="1" hangingPunct="1">
              <a:buClr>
                <a:schemeClr val="tx2">
                  <a:lumMod val="100000"/>
                </a:schemeClr>
              </a:buClr>
              <a:buSzPct val="100000"/>
              <a:buFont typeface="Trebuchet MS" panose="020B0603020202020204" pitchFamily="34" charset="0"/>
              <a:buChar char="•"/>
            </a:pPr>
            <a:r>
              <a:rPr lang="fr-FR" altLang="fr-FR" b="0" dirty="0">
                <a:solidFill>
                  <a:schemeClr val="tx1">
                    <a:lumMod val="100000"/>
                  </a:schemeClr>
                </a:solidFill>
                <a:latin typeface="+mj-lt"/>
              </a:rPr>
              <a:t>Présentation 7 planches + annexes</a:t>
            </a:r>
          </a:p>
        </p:txBody>
      </p:sp>
      <p:sp>
        <p:nvSpPr>
          <p:cNvPr id="38" name="Rectangle 58">
            <a:extLst>
              <a:ext uri="{FF2B5EF4-FFF2-40B4-BE49-F238E27FC236}">
                <a16:creationId xmlns:a16="http://schemas.microsoft.com/office/drawing/2014/main" id="{980F0F60-5C3C-D940-A834-36A43F9F92DD}"/>
              </a:ext>
            </a:extLst>
          </p:cNvPr>
          <p:cNvSpPr>
            <a:spLocks noChangeArrowheads="1"/>
          </p:cNvSpPr>
          <p:nvPr/>
        </p:nvSpPr>
        <p:spPr bwMode="auto">
          <a:xfrm>
            <a:off x="2557194" y="4546154"/>
            <a:ext cx="2305551" cy="1907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a:noAutofit/>
          </a:bodyPr>
          <a:lstStyle>
            <a:lvl1pPr eaLnBrk="0" hangingPunct="0">
              <a:defRPr sz="1200" b="1">
                <a:solidFill>
                  <a:schemeClr val="tx1"/>
                </a:solidFill>
                <a:latin typeface="Arial" panose="020B0604020202020204" pitchFamily="34" charset="0"/>
                <a:cs typeface="Arial" panose="020B0604020202020204" pitchFamily="34" charset="0"/>
              </a:defRPr>
            </a:lvl1pPr>
            <a:lvl2pPr marL="273050" indent="-1841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dirty="0">
                <a:solidFill>
                  <a:schemeClr val="tx1">
                    <a:lumMod val="100000"/>
                  </a:schemeClr>
                </a:solidFill>
                <a:latin typeface="+mj-lt"/>
              </a:rPr>
              <a:t>Créer des équipes de 5/6 et envoyer votre composition d’équipe à </a:t>
            </a:r>
            <a:r>
              <a:rPr lang="fr-FR" altLang="fr-FR" dirty="0">
                <a:solidFill>
                  <a:schemeClr val="tx1">
                    <a:lumMod val="100000"/>
                  </a:schemeClr>
                </a:solidFill>
                <a:latin typeface="+mj-lt"/>
                <a:hlinkClick r:id="rId7"/>
              </a:rPr>
              <a:t>tusevo.elodie@bcg.com</a:t>
            </a:r>
            <a:r>
              <a:rPr lang="fr-FR" altLang="fr-FR" dirty="0">
                <a:solidFill>
                  <a:schemeClr val="tx1">
                    <a:lumMod val="100000"/>
                  </a:schemeClr>
                </a:solidFill>
                <a:latin typeface="+mj-lt"/>
              </a:rPr>
              <a:t> avant le 02/12/20</a:t>
            </a:r>
          </a:p>
        </p:txBody>
      </p:sp>
    </p:spTree>
    <p:extLst>
      <p:ext uri="{BB962C8B-B14F-4D97-AF65-F5344CB8AC3E}">
        <p14:creationId xmlns:p14="http://schemas.microsoft.com/office/powerpoint/2010/main" val="3506609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678" name="think-cell Slide" r:id="rId7" imgW="498" imgH="499" progId="TCLayout.ActiveDocument.1">
                  <p:embed/>
                </p:oleObj>
              </mc:Choice>
              <mc:Fallback>
                <p:oleObj name="think-cell Slide" r:id="rId7" imgW="498" imgH="499"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9458" name="Rectangle 2"/>
          <p:cNvSpPr>
            <a:spLocks noGrp="1" noChangeArrowheads="1"/>
          </p:cNvSpPr>
          <p:nvPr>
            <p:ph type="title"/>
          </p:nvPr>
        </p:nvSpPr>
        <p:spPr>
          <a:xfrm>
            <a:off x="630000" y="622800"/>
            <a:ext cx="6256800" cy="470898"/>
          </a:xfrm>
          <a:prstGeom prst="rect">
            <a:avLst/>
          </a:prstGeom>
        </p:spPr>
        <p:txBody>
          <a:bodyPr>
            <a:spAutoFit/>
          </a:bodyPr>
          <a:lstStyle/>
          <a:p>
            <a:pPr eaLnBrk="1" hangingPunct="1"/>
            <a:r>
              <a:rPr lang="fr-FR" altLang="fr-FR" dirty="0"/>
              <a:t>Nos attentes</a:t>
            </a:r>
          </a:p>
        </p:txBody>
      </p:sp>
      <p:sp>
        <p:nvSpPr>
          <p:cNvPr id="19460" name="Rectangle 6"/>
          <p:cNvSpPr>
            <a:spLocks noChangeArrowheads="1"/>
          </p:cNvSpPr>
          <p:nvPr>
            <p:custDataLst>
              <p:tags r:id="rId4"/>
            </p:custDataLst>
          </p:nvPr>
        </p:nvSpPr>
        <p:spPr bwMode="gray">
          <a:xfrm>
            <a:off x="8551787" y="2263453"/>
            <a:ext cx="3064917" cy="2381894"/>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lgn="ctr">
                <a:solidFill>
                  <a:schemeClr val="tx2"/>
                </a:solidFill>
                <a:miter lim="800000"/>
                <a:headEnd type="none" w="lg" len="lg"/>
                <a:tailEnd type="none" w="lg" len="lg"/>
              </a14:hiddenLine>
            </a:ext>
          </a:extLst>
        </p:spPr>
        <p:txBody>
          <a:bodyPr anchor="ctr" anchorCtr="1"/>
          <a:lstStyle>
            <a:lvl1pPr eaLnBrk="0" hangingPunct="0">
              <a:defRPr sz="1200" b="1">
                <a:solidFill>
                  <a:schemeClr val="tx1"/>
                </a:solidFill>
                <a:latin typeface="Arial" panose="020B0604020202020204" pitchFamily="34" charset="0"/>
                <a:cs typeface="Arial" panose="020B0604020202020204" pitchFamily="34" charset="0"/>
              </a:defRPr>
            </a:lvl1pPr>
            <a:lvl2pPr marL="742950" indent="-285750" eaLnBrk="0" hangingPunct="0">
              <a:defRPr sz="1200" b="1">
                <a:solidFill>
                  <a:schemeClr val="tx1"/>
                </a:solidFill>
                <a:latin typeface="Arial" panose="020B0604020202020204" pitchFamily="34" charset="0"/>
                <a:cs typeface="Arial" panose="020B0604020202020204" pitchFamily="34" charset="0"/>
              </a:defRPr>
            </a:lvl2pPr>
            <a:lvl3pPr marL="1143000" indent="-228600" eaLnBrk="0" hangingPunct="0">
              <a:defRPr sz="1200" b="1">
                <a:solidFill>
                  <a:schemeClr val="tx1"/>
                </a:solidFill>
                <a:latin typeface="Arial" panose="020B0604020202020204" pitchFamily="34" charset="0"/>
                <a:cs typeface="Arial" panose="020B0604020202020204" pitchFamily="34" charset="0"/>
              </a:defRPr>
            </a:lvl3pPr>
            <a:lvl4pPr marL="1600200" indent="-228600" eaLnBrk="0" hangingPunct="0">
              <a:defRPr sz="1200" b="1">
                <a:solidFill>
                  <a:schemeClr val="tx1"/>
                </a:solidFill>
                <a:latin typeface="Arial" panose="020B0604020202020204" pitchFamily="34" charset="0"/>
                <a:cs typeface="Arial" panose="020B0604020202020204" pitchFamily="34" charset="0"/>
              </a:defRPr>
            </a:lvl4pPr>
            <a:lvl5pPr marL="2057400" indent="-228600" eaLnBrk="0" hangingPunct="0">
              <a:defRPr sz="1200" b="1">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eaLnBrk="1" hangingPunct="1">
              <a:buSzPct val="100000"/>
              <a:buFont typeface="Trebuchet MS" panose="020B0603020202020204" pitchFamily="34" charset="0"/>
              <a:buChar char="​"/>
            </a:pPr>
            <a:r>
              <a:rPr lang="fr-FR" altLang="fr-FR" sz="2800" b="0" dirty="0">
                <a:solidFill>
                  <a:srgbClr val="FFFFFF"/>
                </a:solidFill>
                <a:latin typeface="Trebuchet MS" panose="020B0603020202020204" pitchFamily="34" charset="0"/>
              </a:rPr>
              <a:t>Nous serons exigeants avec vous, comme nous le serions dans la "vraie vie"</a:t>
            </a:r>
          </a:p>
        </p:txBody>
      </p:sp>
      <p:grpSp>
        <p:nvGrpSpPr>
          <p:cNvPr id="8" name="Group 7"/>
          <p:cNvGrpSpPr>
            <a:grpSpLocks noChangeAspect="1"/>
          </p:cNvGrpSpPr>
          <p:nvPr/>
        </p:nvGrpSpPr>
        <p:grpSpPr>
          <a:xfrm>
            <a:off x="3532829" y="1685451"/>
            <a:ext cx="983842" cy="983842"/>
            <a:chOff x="5273675" y="2514600"/>
            <a:chExt cx="1646238" cy="1646238"/>
          </a:xfrm>
        </p:grpSpPr>
        <p:sp>
          <p:nvSpPr>
            <p:cNvPr id="9" name="AutoShape 23"/>
            <p:cNvSpPr>
              <a:spLocks noChangeAspect="1" noChangeArrowheads="1" noTextEdit="1"/>
            </p:cNvSpPr>
            <p:nvPr/>
          </p:nvSpPr>
          <p:spPr bwMode="auto">
            <a:xfrm>
              <a:off x="5273675" y="2514600"/>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nvGrpSpPr>
            <p:cNvPr id="10" name="Group 9"/>
            <p:cNvGrpSpPr/>
            <p:nvPr/>
          </p:nvGrpSpPr>
          <p:grpSpPr>
            <a:xfrm>
              <a:off x="5334714" y="2797174"/>
              <a:ext cx="1514633" cy="1085850"/>
              <a:chOff x="5334714" y="2797174"/>
              <a:chExt cx="1514633" cy="1085850"/>
            </a:xfrm>
          </p:grpSpPr>
          <p:sp>
            <p:nvSpPr>
              <p:cNvPr id="11" name="Freeform 10"/>
              <p:cNvSpPr>
                <a:spLocks/>
              </p:cNvSpPr>
              <p:nvPr/>
            </p:nvSpPr>
            <p:spPr bwMode="auto">
              <a:xfrm>
                <a:off x="5334714" y="2797174"/>
                <a:ext cx="1514633" cy="1085850"/>
              </a:xfrm>
              <a:custGeom>
                <a:avLst/>
                <a:gdLst>
                  <a:gd name="connsiteX0" fmla="*/ 964541 w 1514633"/>
                  <a:gd name="connsiteY0" fmla="*/ 881063 h 1085850"/>
                  <a:gd name="connsiteX1" fmla="*/ 1498896 w 1514633"/>
                  <a:gd name="connsiteY1" fmla="*/ 881063 h 1085850"/>
                  <a:gd name="connsiteX2" fmla="*/ 1511773 w 1514633"/>
                  <a:gd name="connsiteY2" fmla="*/ 887505 h 1085850"/>
                  <a:gd name="connsiteX3" fmla="*/ 1513919 w 1514633"/>
                  <a:gd name="connsiteY3" fmla="*/ 901820 h 1085850"/>
                  <a:gd name="connsiteX4" fmla="*/ 1485305 w 1514633"/>
                  <a:gd name="connsiteY4" fmla="*/ 993436 h 1085850"/>
                  <a:gd name="connsiteX5" fmla="*/ 1470283 w 1514633"/>
                  <a:gd name="connsiteY5" fmla="*/ 1004888 h 1085850"/>
                  <a:gd name="connsiteX6" fmla="*/ 805736 w 1514633"/>
                  <a:gd name="connsiteY6" fmla="*/ 1004888 h 1085850"/>
                  <a:gd name="connsiteX7" fmla="*/ 805736 w 1514633"/>
                  <a:gd name="connsiteY7" fmla="*/ 972679 h 1085850"/>
                  <a:gd name="connsiteX8" fmla="*/ 1458838 w 1514633"/>
                  <a:gd name="connsiteY8" fmla="*/ 972679 h 1085850"/>
                  <a:gd name="connsiteX9" fmla="*/ 1477436 w 1514633"/>
                  <a:gd name="connsiteY9" fmla="*/ 912556 h 1085850"/>
                  <a:gd name="connsiteX10" fmla="*/ 980278 w 1514633"/>
                  <a:gd name="connsiteY10" fmla="*/ 912556 h 1085850"/>
                  <a:gd name="connsiteX11" fmla="*/ 980278 w 1514633"/>
                  <a:gd name="connsiteY11" fmla="*/ 924008 h 1085850"/>
                  <a:gd name="connsiteX12" fmla="*/ 964541 w 1514633"/>
                  <a:gd name="connsiteY12" fmla="*/ 939755 h 1085850"/>
                  <a:gd name="connsiteX13" fmla="*/ 805736 w 1514633"/>
                  <a:gd name="connsiteY13" fmla="*/ 939755 h 1085850"/>
                  <a:gd name="connsiteX14" fmla="*/ 805736 w 1514633"/>
                  <a:gd name="connsiteY14" fmla="*/ 908262 h 1085850"/>
                  <a:gd name="connsiteX15" fmla="*/ 948803 w 1514633"/>
                  <a:gd name="connsiteY15" fmla="*/ 908262 h 1085850"/>
                  <a:gd name="connsiteX16" fmla="*/ 948803 w 1514633"/>
                  <a:gd name="connsiteY16" fmla="*/ 896810 h 1085850"/>
                  <a:gd name="connsiteX17" fmla="*/ 964541 w 1514633"/>
                  <a:gd name="connsiteY17" fmla="*/ 881063 h 1085850"/>
                  <a:gd name="connsiteX18" fmla="*/ 15726 w 1514633"/>
                  <a:gd name="connsiteY18" fmla="*/ 881063 h 1085850"/>
                  <a:gd name="connsiteX19" fmla="*/ 549662 w 1514633"/>
                  <a:gd name="connsiteY19" fmla="*/ 881063 h 1085850"/>
                  <a:gd name="connsiteX20" fmla="*/ 565387 w 1514633"/>
                  <a:gd name="connsiteY20" fmla="*/ 896810 h 1085850"/>
                  <a:gd name="connsiteX21" fmla="*/ 565387 w 1514633"/>
                  <a:gd name="connsiteY21" fmla="*/ 908262 h 1085850"/>
                  <a:gd name="connsiteX22" fmla="*/ 710486 w 1514633"/>
                  <a:gd name="connsiteY22" fmla="*/ 908262 h 1085850"/>
                  <a:gd name="connsiteX23" fmla="*/ 710486 w 1514633"/>
                  <a:gd name="connsiteY23" fmla="*/ 939755 h 1085850"/>
                  <a:gd name="connsiteX24" fmla="*/ 549662 w 1514633"/>
                  <a:gd name="connsiteY24" fmla="*/ 939755 h 1085850"/>
                  <a:gd name="connsiteX25" fmla="*/ 533937 w 1514633"/>
                  <a:gd name="connsiteY25" fmla="*/ 924008 h 1085850"/>
                  <a:gd name="connsiteX26" fmla="*/ 533937 w 1514633"/>
                  <a:gd name="connsiteY26" fmla="*/ 912556 h 1085850"/>
                  <a:gd name="connsiteX27" fmla="*/ 37169 w 1514633"/>
                  <a:gd name="connsiteY27" fmla="*/ 912556 h 1085850"/>
                  <a:gd name="connsiteX28" fmla="*/ 55753 w 1514633"/>
                  <a:gd name="connsiteY28" fmla="*/ 972679 h 1085850"/>
                  <a:gd name="connsiteX29" fmla="*/ 710486 w 1514633"/>
                  <a:gd name="connsiteY29" fmla="*/ 972679 h 1085850"/>
                  <a:gd name="connsiteX30" fmla="*/ 710486 w 1514633"/>
                  <a:gd name="connsiteY30" fmla="*/ 1004888 h 1085850"/>
                  <a:gd name="connsiteX31" fmla="*/ 44317 w 1514633"/>
                  <a:gd name="connsiteY31" fmla="*/ 1004888 h 1085850"/>
                  <a:gd name="connsiteX32" fmla="*/ 29307 w 1514633"/>
                  <a:gd name="connsiteY32" fmla="*/ 993436 h 1085850"/>
                  <a:gd name="connsiteX33" fmla="*/ 716 w 1514633"/>
                  <a:gd name="connsiteY33" fmla="*/ 901820 h 1085850"/>
                  <a:gd name="connsiteX34" fmla="*/ 2860 w 1514633"/>
                  <a:gd name="connsiteY34" fmla="*/ 887505 h 1085850"/>
                  <a:gd name="connsiteX35" fmla="*/ 15726 w 1514633"/>
                  <a:gd name="connsiteY35" fmla="*/ 881063 h 1085850"/>
                  <a:gd name="connsiteX36" fmla="*/ 808595 w 1514633"/>
                  <a:gd name="connsiteY36" fmla="*/ 80963 h 1085850"/>
                  <a:gd name="connsiteX37" fmla="*/ 1399614 w 1514633"/>
                  <a:gd name="connsiteY37" fmla="*/ 80963 h 1085850"/>
                  <a:gd name="connsiteX38" fmla="*/ 1415336 w 1514633"/>
                  <a:gd name="connsiteY38" fmla="*/ 96658 h 1085850"/>
                  <a:gd name="connsiteX39" fmla="*/ 1412478 w 1514633"/>
                  <a:gd name="connsiteY39" fmla="*/ 833618 h 1085850"/>
                  <a:gd name="connsiteX40" fmla="*/ 1396755 w 1514633"/>
                  <a:gd name="connsiteY40" fmla="*/ 849313 h 1085850"/>
                  <a:gd name="connsiteX41" fmla="*/ 805736 w 1514633"/>
                  <a:gd name="connsiteY41" fmla="*/ 849313 h 1085850"/>
                  <a:gd name="connsiteX42" fmla="*/ 805736 w 1514633"/>
                  <a:gd name="connsiteY42" fmla="*/ 817923 h 1085850"/>
                  <a:gd name="connsiteX43" fmla="*/ 1381033 w 1514633"/>
                  <a:gd name="connsiteY43" fmla="*/ 817923 h 1085850"/>
                  <a:gd name="connsiteX44" fmla="*/ 1383891 w 1514633"/>
                  <a:gd name="connsiteY44" fmla="*/ 112353 h 1085850"/>
                  <a:gd name="connsiteX45" fmla="*/ 808595 w 1514633"/>
                  <a:gd name="connsiteY45" fmla="*/ 112353 h 1085850"/>
                  <a:gd name="connsiteX46" fmla="*/ 808595 w 1514633"/>
                  <a:gd name="connsiteY46" fmla="*/ 80963 h 1085850"/>
                  <a:gd name="connsiteX47" fmla="*/ 121038 w 1514633"/>
                  <a:gd name="connsiteY47" fmla="*/ 80963 h 1085850"/>
                  <a:gd name="connsiteX48" fmla="*/ 609345 w 1514633"/>
                  <a:gd name="connsiteY48" fmla="*/ 80963 h 1085850"/>
                  <a:gd name="connsiteX49" fmla="*/ 712074 w 1514633"/>
                  <a:gd name="connsiteY49" fmla="*/ 80963 h 1085850"/>
                  <a:gd name="connsiteX50" fmla="*/ 713662 w 1514633"/>
                  <a:gd name="connsiteY50" fmla="*/ 80963 h 1085850"/>
                  <a:gd name="connsiteX51" fmla="*/ 713662 w 1514633"/>
                  <a:gd name="connsiteY51" fmla="*/ 94206 h 1085850"/>
                  <a:gd name="connsiteX52" fmla="*/ 713662 w 1514633"/>
                  <a:gd name="connsiteY52" fmla="*/ 111126 h 1085850"/>
                  <a:gd name="connsiteX53" fmla="*/ 713662 w 1514633"/>
                  <a:gd name="connsiteY53" fmla="*/ 112353 h 1085850"/>
                  <a:gd name="connsiteX54" fmla="*/ 136746 w 1514633"/>
                  <a:gd name="connsiteY54" fmla="*/ 112353 h 1085850"/>
                  <a:gd name="connsiteX55" fmla="*/ 133890 w 1514633"/>
                  <a:gd name="connsiteY55" fmla="*/ 817923 h 1085850"/>
                  <a:gd name="connsiteX56" fmla="*/ 710806 w 1514633"/>
                  <a:gd name="connsiteY56" fmla="*/ 817923 h 1085850"/>
                  <a:gd name="connsiteX57" fmla="*/ 710806 w 1514633"/>
                  <a:gd name="connsiteY57" fmla="*/ 849313 h 1085850"/>
                  <a:gd name="connsiteX58" fmla="*/ 118182 w 1514633"/>
                  <a:gd name="connsiteY58" fmla="*/ 849313 h 1085850"/>
                  <a:gd name="connsiteX59" fmla="*/ 102474 w 1514633"/>
                  <a:gd name="connsiteY59" fmla="*/ 833618 h 1085850"/>
                  <a:gd name="connsiteX60" fmla="*/ 105330 w 1514633"/>
                  <a:gd name="connsiteY60" fmla="*/ 96658 h 1085850"/>
                  <a:gd name="connsiteX61" fmla="*/ 121038 w 1514633"/>
                  <a:gd name="connsiteY61" fmla="*/ 80963 h 1085850"/>
                  <a:gd name="connsiteX62" fmla="*/ 759256 w 1514633"/>
                  <a:gd name="connsiteY62" fmla="*/ 0 h 1085850"/>
                  <a:gd name="connsiteX63" fmla="*/ 773987 w 1514633"/>
                  <a:gd name="connsiteY63" fmla="*/ 15706 h 1085850"/>
                  <a:gd name="connsiteX64" fmla="*/ 773987 w 1514633"/>
                  <a:gd name="connsiteY64" fmla="*/ 1070144 h 1085850"/>
                  <a:gd name="connsiteX65" fmla="*/ 759256 w 1514633"/>
                  <a:gd name="connsiteY65" fmla="*/ 1085850 h 1085850"/>
                  <a:gd name="connsiteX66" fmla="*/ 743824 w 1514633"/>
                  <a:gd name="connsiteY66" fmla="*/ 1070144 h 1085850"/>
                  <a:gd name="connsiteX67" fmla="*/ 743824 w 1514633"/>
                  <a:gd name="connsiteY67" fmla="*/ 15706 h 1085850"/>
                  <a:gd name="connsiteX68" fmla="*/ 759256 w 1514633"/>
                  <a:gd name="connsiteY68" fmla="*/ 0 h 108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514633" h="1085850">
                    <a:moveTo>
                      <a:pt x="964541" y="881063"/>
                    </a:moveTo>
                    <a:cubicBezTo>
                      <a:pt x="964541" y="881063"/>
                      <a:pt x="964541" y="881063"/>
                      <a:pt x="1498896" y="881063"/>
                    </a:cubicBezTo>
                    <a:cubicBezTo>
                      <a:pt x="1503904" y="881063"/>
                      <a:pt x="1508196" y="883926"/>
                      <a:pt x="1511773" y="887505"/>
                    </a:cubicBezTo>
                    <a:cubicBezTo>
                      <a:pt x="1514634" y="891799"/>
                      <a:pt x="1515349" y="896810"/>
                      <a:pt x="1513919" y="901820"/>
                    </a:cubicBezTo>
                    <a:cubicBezTo>
                      <a:pt x="1513919" y="901820"/>
                      <a:pt x="1513919" y="901820"/>
                      <a:pt x="1485305" y="993436"/>
                    </a:cubicBezTo>
                    <a:cubicBezTo>
                      <a:pt x="1483159" y="1000594"/>
                      <a:pt x="1476721" y="1004888"/>
                      <a:pt x="1470283" y="1004888"/>
                    </a:cubicBezTo>
                    <a:cubicBezTo>
                      <a:pt x="1470283" y="1004888"/>
                      <a:pt x="1470283" y="1004888"/>
                      <a:pt x="805736" y="1004888"/>
                    </a:cubicBezTo>
                    <a:cubicBezTo>
                      <a:pt x="805736" y="1004888"/>
                      <a:pt x="805736" y="1004888"/>
                      <a:pt x="805736" y="972679"/>
                    </a:cubicBezTo>
                    <a:cubicBezTo>
                      <a:pt x="805736" y="972679"/>
                      <a:pt x="805736" y="972679"/>
                      <a:pt x="1458838" y="972679"/>
                    </a:cubicBezTo>
                    <a:cubicBezTo>
                      <a:pt x="1458838" y="972679"/>
                      <a:pt x="1458838" y="972679"/>
                      <a:pt x="1477436" y="912556"/>
                    </a:cubicBezTo>
                    <a:cubicBezTo>
                      <a:pt x="1477436" y="912556"/>
                      <a:pt x="1477436" y="912556"/>
                      <a:pt x="980278" y="912556"/>
                    </a:cubicBezTo>
                    <a:cubicBezTo>
                      <a:pt x="980278" y="912556"/>
                      <a:pt x="980278" y="912556"/>
                      <a:pt x="980278" y="924008"/>
                    </a:cubicBezTo>
                    <a:cubicBezTo>
                      <a:pt x="980278" y="932597"/>
                      <a:pt x="973125" y="939755"/>
                      <a:pt x="964541" y="939755"/>
                    </a:cubicBezTo>
                    <a:cubicBezTo>
                      <a:pt x="964541" y="939755"/>
                      <a:pt x="964541" y="939755"/>
                      <a:pt x="805736" y="939755"/>
                    </a:cubicBezTo>
                    <a:cubicBezTo>
                      <a:pt x="805736" y="939755"/>
                      <a:pt x="805736" y="939755"/>
                      <a:pt x="805736" y="908262"/>
                    </a:cubicBezTo>
                    <a:cubicBezTo>
                      <a:pt x="805736" y="908262"/>
                      <a:pt x="805736" y="908262"/>
                      <a:pt x="948803" y="908262"/>
                    </a:cubicBezTo>
                    <a:cubicBezTo>
                      <a:pt x="948803" y="908262"/>
                      <a:pt x="948803" y="908262"/>
                      <a:pt x="948803" y="896810"/>
                    </a:cubicBezTo>
                    <a:cubicBezTo>
                      <a:pt x="948803" y="888221"/>
                      <a:pt x="955957" y="881063"/>
                      <a:pt x="964541" y="881063"/>
                    </a:cubicBezTo>
                    <a:close/>
                    <a:moveTo>
                      <a:pt x="15726" y="881063"/>
                    </a:moveTo>
                    <a:cubicBezTo>
                      <a:pt x="15726" y="881063"/>
                      <a:pt x="15726" y="881063"/>
                      <a:pt x="549662" y="881063"/>
                    </a:cubicBezTo>
                    <a:cubicBezTo>
                      <a:pt x="558239" y="881063"/>
                      <a:pt x="565387" y="888221"/>
                      <a:pt x="565387" y="896810"/>
                    </a:cubicBezTo>
                    <a:cubicBezTo>
                      <a:pt x="565387" y="896810"/>
                      <a:pt x="565387" y="896810"/>
                      <a:pt x="565387" y="908262"/>
                    </a:cubicBezTo>
                    <a:cubicBezTo>
                      <a:pt x="565387" y="908262"/>
                      <a:pt x="565387" y="908262"/>
                      <a:pt x="710486" y="908262"/>
                    </a:cubicBezTo>
                    <a:cubicBezTo>
                      <a:pt x="710486" y="908262"/>
                      <a:pt x="710486" y="908262"/>
                      <a:pt x="710486" y="939755"/>
                    </a:cubicBezTo>
                    <a:cubicBezTo>
                      <a:pt x="710486" y="939755"/>
                      <a:pt x="710486" y="939755"/>
                      <a:pt x="549662" y="939755"/>
                    </a:cubicBezTo>
                    <a:cubicBezTo>
                      <a:pt x="541085" y="939755"/>
                      <a:pt x="533937" y="932597"/>
                      <a:pt x="533937" y="924008"/>
                    </a:cubicBezTo>
                    <a:cubicBezTo>
                      <a:pt x="533937" y="924008"/>
                      <a:pt x="533937" y="924008"/>
                      <a:pt x="533937" y="912556"/>
                    </a:cubicBezTo>
                    <a:cubicBezTo>
                      <a:pt x="533937" y="912556"/>
                      <a:pt x="533937" y="912556"/>
                      <a:pt x="37169" y="912556"/>
                    </a:cubicBezTo>
                    <a:cubicBezTo>
                      <a:pt x="37169" y="912556"/>
                      <a:pt x="37169" y="912556"/>
                      <a:pt x="55753" y="972679"/>
                    </a:cubicBezTo>
                    <a:cubicBezTo>
                      <a:pt x="55753" y="972679"/>
                      <a:pt x="55753" y="972679"/>
                      <a:pt x="710486" y="972679"/>
                    </a:cubicBezTo>
                    <a:cubicBezTo>
                      <a:pt x="710486" y="972679"/>
                      <a:pt x="710486" y="972679"/>
                      <a:pt x="710486" y="1004888"/>
                    </a:cubicBezTo>
                    <a:cubicBezTo>
                      <a:pt x="710486" y="1004888"/>
                      <a:pt x="710486" y="1004888"/>
                      <a:pt x="44317" y="1004888"/>
                    </a:cubicBezTo>
                    <a:cubicBezTo>
                      <a:pt x="37884" y="1004888"/>
                      <a:pt x="31451" y="1000594"/>
                      <a:pt x="29307" y="993436"/>
                    </a:cubicBezTo>
                    <a:cubicBezTo>
                      <a:pt x="29307" y="993436"/>
                      <a:pt x="29307" y="993436"/>
                      <a:pt x="716" y="901820"/>
                    </a:cubicBezTo>
                    <a:cubicBezTo>
                      <a:pt x="-714" y="896810"/>
                      <a:pt x="1" y="891799"/>
                      <a:pt x="2860" y="887505"/>
                    </a:cubicBezTo>
                    <a:cubicBezTo>
                      <a:pt x="6434" y="883926"/>
                      <a:pt x="10723" y="881063"/>
                      <a:pt x="15726" y="881063"/>
                    </a:cubicBezTo>
                    <a:close/>
                    <a:moveTo>
                      <a:pt x="808595" y="80963"/>
                    </a:moveTo>
                    <a:cubicBezTo>
                      <a:pt x="808595" y="80963"/>
                      <a:pt x="808595" y="80963"/>
                      <a:pt x="1399614" y="80963"/>
                    </a:cubicBezTo>
                    <a:cubicBezTo>
                      <a:pt x="1408190" y="80963"/>
                      <a:pt x="1415336" y="88097"/>
                      <a:pt x="1415336" y="96658"/>
                    </a:cubicBezTo>
                    <a:cubicBezTo>
                      <a:pt x="1415336" y="96658"/>
                      <a:pt x="1415336" y="96658"/>
                      <a:pt x="1412478" y="833618"/>
                    </a:cubicBezTo>
                    <a:cubicBezTo>
                      <a:pt x="1412478" y="842179"/>
                      <a:pt x="1405331" y="849313"/>
                      <a:pt x="1396755" y="849313"/>
                    </a:cubicBezTo>
                    <a:cubicBezTo>
                      <a:pt x="1396755" y="849313"/>
                      <a:pt x="1396755" y="849313"/>
                      <a:pt x="805736" y="849313"/>
                    </a:cubicBezTo>
                    <a:cubicBezTo>
                      <a:pt x="805736" y="849313"/>
                      <a:pt x="805736" y="849313"/>
                      <a:pt x="805736" y="817923"/>
                    </a:cubicBezTo>
                    <a:cubicBezTo>
                      <a:pt x="805736" y="817923"/>
                      <a:pt x="805736" y="817923"/>
                      <a:pt x="1381033" y="817923"/>
                    </a:cubicBezTo>
                    <a:cubicBezTo>
                      <a:pt x="1381033" y="817923"/>
                      <a:pt x="1381033" y="817923"/>
                      <a:pt x="1383891" y="112353"/>
                    </a:cubicBezTo>
                    <a:cubicBezTo>
                      <a:pt x="1383891" y="112353"/>
                      <a:pt x="1383891" y="112353"/>
                      <a:pt x="808595" y="112353"/>
                    </a:cubicBezTo>
                    <a:cubicBezTo>
                      <a:pt x="808595" y="112353"/>
                      <a:pt x="808595" y="112353"/>
                      <a:pt x="808595" y="80963"/>
                    </a:cubicBezTo>
                    <a:close/>
                    <a:moveTo>
                      <a:pt x="121038" y="80963"/>
                    </a:moveTo>
                    <a:cubicBezTo>
                      <a:pt x="121038" y="80963"/>
                      <a:pt x="121038" y="80963"/>
                      <a:pt x="609345" y="80963"/>
                    </a:cubicBezTo>
                    <a:lnTo>
                      <a:pt x="712074" y="80963"/>
                    </a:lnTo>
                    <a:lnTo>
                      <a:pt x="713662" y="80963"/>
                    </a:lnTo>
                    <a:cubicBezTo>
                      <a:pt x="713662" y="80963"/>
                      <a:pt x="713662" y="80963"/>
                      <a:pt x="713662" y="94206"/>
                    </a:cubicBezTo>
                    <a:lnTo>
                      <a:pt x="713662" y="111126"/>
                    </a:lnTo>
                    <a:lnTo>
                      <a:pt x="713662" y="112353"/>
                    </a:lnTo>
                    <a:cubicBezTo>
                      <a:pt x="713662" y="112353"/>
                      <a:pt x="713662" y="112353"/>
                      <a:pt x="136746" y="112353"/>
                    </a:cubicBezTo>
                    <a:cubicBezTo>
                      <a:pt x="136746" y="112353"/>
                      <a:pt x="136746" y="112353"/>
                      <a:pt x="133890" y="817923"/>
                    </a:cubicBezTo>
                    <a:cubicBezTo>
                      <a:pt x="133890" y="817923"/>
                      <a:pt x="133890" y="817923"/>
                      <a:pt x="710806" y="817923"/>
                    </a:cubicBezTo>
                    <a:cubicBezTo>
                      <a:pt x="710806" y="817923"/>
                      <a:pt x="710806" y="817923"/>
                      <a:pt x="710806" y="849313"/>
                    </a:cubicBezTo>
                    <a:cubicBezTo>
                      <a:pt x="710806" y="849313"/>
                      <a:pt x="710806" y="849313"/>
                      <a:pt x="118182" y="849313"/>
                    </a:cubicBezTo>
                    <a:cubicBezTo>
                      <a:pt x="109614" y="849313"/>
                      <a:pt x="102474" y="842179"/>
                      <a:pt x="102474" y="833618"/>
                    </a:cubicBezTo>
                    <a:cubicBezTo>
                      <a:pt x="102474" y="833618"/>
                      <a:pt x="102474" y="833618"/>
                      <a:pt x="105330" y="96658"/>
                    </a:cubicBezTo>
                    <a:cubicBezTo>
                      <a:pt x="105330" y="88097"/>
                      <a:pt x="112470" y="80963"/>
                      <a:pt x="121038" y="80963"/>
                    </a:cubicBezTo>
                    <a:close/>
                    <a:moveTo>
                      <a:pt x="759256" y="0"/>
                    </a:moveTo>
                    <a:cubicBezTo>
                      <a:pt x="766973" y="0"/>
                      <a:pt x="773987" y="7139"/>
                      <a:pt x="773987" y="15706"/>
                    </a:cubicBezTo>
                    <a:cubicBezTo>
                      <a:pt x="773987" y="1070144"/>
                      <a:pt x="773987" y="1070144"/>
                      <a:pt x="773987" y="1070144"/>
                    </a:cubicBezTo>
                    <a:cubicBezTo>
                      <a:pt x="773987" y="1078711"/>
                      <a:pt x="766973" y="1085850"/>
                      <a:pt x="759256" y="1085850"/>
                    </a:cubicBezTo>
                    <a:cubicBezTo>
                      <a:pt x="750137" y="1085850"/>
                      <a:pt x="743824" y="1078711"/>
                      <a:pt x="743824" y="1070144"/>
                    </a:cubicBezTo>
                    <a:cubicBezTo>
                      <a:pt x="743824" y="15706"/>
                      <a:pt x="743824" y="15706"/>
                      <a:pt x="743824" y="15706"/>
                    </a:cubicBezTo>
                    <a:cubicBezTo>
                      <a:pt x="743824" y="7139"/>
                      <a:pt x="750137" y="0"/>
                      <a:pt x="75925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dirty="0"/>
              </a:p>
            </p:txBody>
          </p:sp>
          <p:sp>
            <p:nvSpPr>
              <p:cNvPr id="12" name="Freeform 11"/>
              <p:cNvSpPr>
                <a:spLocks/>
              </p:cNvSpPr>
              <p:nvPr/>
            </p:nvSpPr>
            <p:spPr bwMode="auto">
              <a:xfrm>
                <a:off x="5500687" y="2938463"/>
                <a:ext cx="1185862" cy="646113"/>
              </a:xfrm>
              <a:custGeom>
                <a:avLst/>
                <a:gdLst>
                  <a:gd name="connsiteX0" fmla="*/ 898496 w 1185862"/>
                  <a:gd name="connsiteY0" fmla="*/ 312737 h 646113"/>
                  <a:gd name="connsiteX1" fmla="*/ 960016 w 1185862"/>
                  <a:gd name="connsiteY1" fmla="*/ 327739 h 646113"/>
                  <a:gd name="connsiteX2" fmla="*/ 977900 w 1185862"/>
                  <a:gd name="connsiteY2" fmla="*/ 374888 h 646113"/>
                  <a:gd name="connsiteX3" fmla="*/ 959301 w 1185862"/>
                  <a:gd name="connsiteY3" fmla="*/ 425609 h 646113"/>
                  <a:gd name="connsiteX4" fmla="*/ 897780 w 1185862"/>
                  <a:gd name="connsiteY4" fmla="*/ 441325 h 646113"/>
                  <a:gd name="connsiteX5" fmla="*/ 862012 w 1185862"/>
                  <a:gd name="connsiteY5" fmla="*/ 439182 h 646113"/>
                  <a:gd name="connsiteX6" fmla="*/ 862012 w 1185862"/>
                  <a:gd name="connsiteY6" fmla="*/ 314166 h 646113"/>
                  <a:gd name="connsiteX7" fmla="*/ 898496 w 1185862"/>
                  <a:gd name="connsiteY7" fmla="*/ 312737 h 646113"/>
                  <a:gd name="connsiteX8" fmla="*/ 277813 w 1185862"/>
                  <a:gd name="connsiteY8" fmla="*/ 230187 h 646113"/>
                  <a:gd name="connsiteX9" fmla="*/ 323850 w 1185862"/>
                  <a:gd name="connsiteY9" fmla="*/ 374650 h 646113"/>
                  <a:gd name="connsiteX10" fmla="*/ 227012 w 1185862"/>
                  <a:gd name="connsiteY10" fmla="*/ 374650 h 646113"/>
                  <a:gd name="connsiteX11" fmla="*/ 902244 w 1185862"/>
                  <a:gd name="connsiteY11" fmla="*/ 182562 h 646113"/>
                  <a:gd name="connsiteX12" fmla="*/ 960437 w 1185862"/>
                  <a:gd name="connsiteY12" fmla="*/ 228542 h 646113"/>
                  <a:gd name="connsiteX13" fmla="*/ 897215 w 1185862"/>
                  <a:gd name="connsiteY13" fmla="*/ 280987 h 646113"/>
                  <a:gd name="connsiteX14" fmla="*/ 862012 w 1185862"/>
                  <a:gd name="connsiteY14" fmla="*/ 279550 h 646113"/>
                  <a:gd name="connsiteX15" fmla="*/ 862012 w 1185862"/>
                  <a:gd name="connsiteY15" fmla="*/ 183999 h 646113"/>
                  <a:gd name="connsiteX16" fmla="*/ 902244 w 1185862"/>
                  <a:gd name="connsiteY16" fmla="*/ 182562 h 646113"/>
                  <a:gd name="connsiteX17" fmla="*/ 903739 w 1185862"/>
                  <a:gd name="connsiteY17" fmla="*/ 146050 h 646113"/>
                  <a:gd name="connsiteX18" fmla="*/ 817562 w 1185862"/>
                  <a:gd name="connsiteY18" fmla="*/ 148903 h 646113"/>
                  <a:gd name="connsiteX19" fmla="*/ 817562 w 1185862"/>
                  <a:gd name="connsiteY19" fmla="*/ 476250 h 646113"/>
                  <a:gd name="connsiteX20" fmla="*/ 910861 w 1185862"/>
                  <a:gd name="connsiteY20" fmla="*/ 476250 h 646113"/>
                  <a:gd name="connsiteX21" fmla="*/ 993476 w 1185862"/>
                  <a:gd name="connsiteY21" fmla="*/ 450576 h 646113"/>
                  <a:gd name="connsiteX22" fmla="*/ 1025525 w 1185862"/>
                  <a:gd name="connsiteY22" fmla="*/ 381398 h 646113"/>
                  <a:gd name="connsiteX23" fmla="*/ 1007720 w 1185862"/>
                  <a:gd name="connsiteY23" fmla="*/ 322918 h 646113"/>
                  <a:gd name="connsiteX24" fmla="*/ 950744 w 1185862"/>
                  <a:gd name="connsiteY24" fmla="*/ 291538 h 646113"/>
                  <a:gd name="connsiteX25" fmla="*/ 988491 w 1185862"/>
                  <a:gd name="connsiteY25" fmla="*/ 268003 h 646113"/>
                  <a:gd name="connsiteX26" fmla="*/ 1005584 w 1185862"/>
                  <a:gd name="connsiteY26" fmla="*/ 226639 h 646113"/>
                  <a:gd name="connsiteX27" fmla="*/ 978520 w 1185862"/>
                  <a:gd name="connsiteY27" fmla="*/ 166732 h 646113"/>
                  <a:gd name="connsiteX28" fmla="*/ 903739 w 1185862"/>
                  <a:gd name="connsiteY28" fmla="*/ 146050 h 646113"/>
                  <a:gd name="connsiteX29" fmla="*/ 274004 w 1185862"/>
                  <a:gd name="connsiteY29" fmla="*/ 144462 h 646113"/>
                  <a:gd name="connsiteX30" fmla="*/ 141287 w 1185862"/>
                  <a:gd name="connsiteY30" fmla="*/ 476250 h 646113"/>
                  <a:gd name="connsiteX31" fmla="*/ 191234 w 1185862"/>
                  <a:gd name="connsiteY31" fmla="*/ 476250 h 646113"/>
                  <a:gd name="connsiteX32" fmla="*/ 215495 w 1185862"/>
                  <a:gd name="connsiteY32" fmla="*/ 407038 h 646113"/>
                  <a:gd name="connsiteX33" fmla="*/ 336795 w 1185862"/>
                  <a:gd name="connsiteY33" fmla="*/ 407038 h 646113"/>
                  <a:gd name="connsiteX34" fmla="*/ 359628 w 1185862"/>
                  <a:gd name="connsiteY34" fmla="*/ 476250 h 646113"/>
                  <a:gd name="connsiteX35" fmla="*/ 409575 w 1185862"/>
                  <a:gd name="connsiteY35" fmla="*/ 476250 h 646113"/>
                  <a:gd name="connsiteX36" fmla="*/ 286134 w 1185862"/>
                  <a:gd name="connsiteY36" fmla="*/ 144462 h 646113"/>
                  <a:gd name="connsiteX37" fmla="*/ 274004 w 1185862"/>
                  <a:gd name="connsiteY37" fmla="*/ 144462 h 646113"/>
                  <a:gd name="connsiteX38" fmla="*/ 642621 w 1185862"/>
                  <a:gd name="connsiteY38" fmla="*/ 0 h 646113"/>
                  <a:gd name="connsiteX39" fmla="*/ 1178714 w 1185862"/>
                  <a:gd name="connsiteY39" fmla="*/ 0 h 646113"/>
                  <a:gd name="connsiteX40" fmla="*/ 1185862 w 1185862"/>
                  <a:gd name="connsiteY40" fmla="*/ 7139 h 646113"/>
                  <a:gd name="connsiteX41" fmla="*/ 1183003 w 1185862"/>
                  <a:gd name="connsiteY41" fmla="*/ 638974 h 646113"/>
                  <a:gd name="connsiteX42" fmla="*/ 1175855 w 1185862"/>
                  <a:gd name="connsiteY42" fmla="*/ 646113 h 646113"/>
                  <a:gd name="connsiteX43" fmla="*/ 639762 w 1185862"/>
                  <a:gd name="connsiteY43" fmla="*/ 646113 h 646113"/>
                  <a:gd name="connsiteX44" fmla="*/ 642621 w 1185862"/>
                  <a:gd name="connsiteY44" fmla="*/ 0 h 646113"/>
                  <a:gd name="connsiteX45" fmla="*/ 10013 w 1185862"/>
                  <a:gd name="connsiteY45" fmla="*/ 0 h 646113"/>
                  <a:gd name="connsiteX46" fmla="*/ 549275 w 1185862"/>
                  <a:gd name="connsiteY46" fmla="*/ 0 h 646113"/>
                  <a:gd name="connsiteX47" fmla="*/ 546414 w 1185862"/>
                  <a:gd name="connsiteY47" fmla="*/ 646113 h 646113"/>
                  <a:gd name="connsiteX48" fmla="*/ 7152 w 1185862"/>
                  <a:gd name="connsiteY48" fmla="*/ 646113 h 646113"/>
                  <a:gd name="connsiteX49" fmla="*/ 0 w 1185862"/>
                  <a:gd name="connsiteY49" fmla="*/ 638974 h 646113"/>
                  <a:gd name="connsiteX50" fmla="*/ 2861 w 1185862"/>
                  <a:gd name="connsiteY50" fmla="*/ 7139 h 646113"/>
                  <a:gd name="connsiteX51" fmla="*/ 10013 w 1185862"/>
                  <a:gd name="connsiteY51"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85862" h="646113">
                    <a:moveTo>
                      <a:pt x="898496" y="312737"/>
                    </a:moveTo>
                    <a:cubicBezTo>
                      <a:pt x="927110" y="312737"/>
                      <a:pt x="947855" y="317738"/>
                      <a:pt x="960016" y="327739"/>
                    </a:cubicBezTo>
                    <a:cubicBezTo>
                      <a:pt x="972177" y="338455"/>
                      <a:pt x="977900" y="354171"/>
                      <a:pt x="977900" y="374888"/>
                    </a:cubicBezTo>
                    <a:cubicBezTo>
                      <a:pt x="977900" y="398462"/>
                      <a:pt x="972177" y="414893"/>
                      <a:pt x="959301" y="425609"/>
                    </a:cubicBezTo>
                    <a:cubicBezTo>
                      <a:pt x="946424" y="436324"/>
                      <a:pt x="925679" y="441325"/>
                      <a:pt x="897780" y="441325"/>
                    </a:cubicBezTo>
                    <a:cubicBezTo>
                      <a:pt x="889196" y="441325"/>
                      <a:pt x="877750" y="440611"/>
                      <a:pt x="862012" y="439182"/>
                    </a:cubicBezTo>
                    <a:cubicBezTo>
                      <a:pt x="862012" y="314166"/>
                      <a:pt x="862012" y="314166"/>
                      <a:pt x="862012" y="314166"/>
                    </a:cubicBezTo>
                    <a:cubicBezTo>
                      <a:pt x="898496" y="312737"/>
                      <a:pt x="898496" y="312737"/>
                      <a:pt x="898496" y="312737"/>
                    </a:cubicBezTo>
                    <a:close/>
                    <a:moveTo>
                      <a:pt x="277813" y="230187"/>
                    </a:moveTo>
                    <a:lnTo>
                      <a:pt x="323850" y="374650"/>
                    </a:lnTo>
                    <a:lnTo>
                      <a:pt x="227012" y="374650"/>
                    </a:lnTo>
                    <a:close/>
                    <a:moveTo>
                      <a:pt x="902244" y="182562"/>
                    </a:moveTo>
                    <a:cubicBezTo>
                      <a:pt x="941040" y="182562"/>
                      <a:pt x="960437" y="197649"/>
                      <a:pt x="960437" y="228542"/>
                    </a:cubicBezTo>
                    <a:cubicBezTo>
                      <a:pt x="960437" y="263745"/>
                      <a:pt x="938884" y="280987"/>
                      <a:pt x="897215" y="280987"/>
                    </a:cubicBezTo>
                    <a:cubicBezTo>
                      <a:pt x="883565" y="280987"/>
                      <a:pt x="871352" y="280269"/>
                      <a:pt x="862012" y="279550"/>
                    </a:cubicBezTo>
                    <a:cubicBezTo>
                      <a:pt x="862012" y="183999"/>
                      <a:pt x="862012" y="183999"/>
                      <a:pt x="862012" y="183999"/>
                    </a:cubicBezTo>
                    <a:cubicBezTo>
                      <a:pt x="874226" y="183281"/>
                      <a:pt x="887157" y="182562"/>
                      <a:pt x="902244" y="182562"/>
                    </a:cubicBezTo>
                    <a:close/>
                    <a:moveTo>
                      <a:pt x="903739" y="146050"/>
                    </a:moveTo>
                    <a:cubicBezTo>
                      <a:pt x="885934" y="146050"/>
                      <a:pt x="857446" y="146763"/>
                      <a:pt x="817562" y="148903"/>
                    </a:cubicBezTo>
                    <a:cubicBezTo>
                      <a:pt x="817562" y="148903"/>
                      <a:pt x="817562" y="148903"/>
                      <a:pt x="817562" y="476250"/>
                    </a:cubicBezTo>
                    <a:cubicBezTo>
                      <a:pt x="817562" y="476250"/>
                      <a:pt x="817562" y="476250"/>
                      <a:pt x="910861" y="476250"/>
                    </a:cubicBezTo>
                    <a:cubicBezTo>
                      <a:pt x="945046" y="476250"/>
                      <a:pt x="972822" y="467692"/>
                      <a:pt x="993476" y="450576"/>
                    </a:cubicBezTo>
                    <a:cubicBezTo>
                      <a:pt x="1014842" y="433460"/>
                      <a:pt x="1025525" y="410638"/>
                      <a:pt x="1025525" y="381398"/>
                    </a:cubicBezTo>
                    <a:cubicBezTo>
                      <a:pt x="1025525" y="357150"/>
                      <a:pt x="1019115" y="337181"/>
                      <a:pt x="1007720" y="322918"/>
                    </a:cubicBezTo>
                    <a:cubicBezTo>
                      <a:pt x="995613" y="307941"/>
                      <a:pt x="977096" y="297956"/>
                      <a:pt x="950744" y="291538"/>
                    </a:cubicBezTo>
                    <a:cubicBezTo>
                      <a:pt x="964276" y="288685"/>
                      <a:pt x="977096" y="280840"/>
                      <a:pt x="988491" y="268003"/>
                    </a:cubicBezTo>
                    <a:cubicBezTo>
                      <a:pt x="999886" y="255879"/>
                      <a:pt x="1005584" y="241616"/>
                      <a:pt x="1005584" y="226639"/>
                    </a:cubicBezTo>
                    <a:cubicBezTo>
                      <a:pt x="1005584" y="200965"/>
                      <a:pt x="996325" y="180996"/>
                      <a:pt x="978520" y="166732"/>
                    </a:cubicBezTo>
                    <a:cubicBezTo>
                      <a:pt x="960715" y="153182"/>
                      <a:pt x="935788" y="146050"/>
                      <a:pt x="903739" y="146050"/>
                    </a:cubicBezTo>
                    <a:close/>
                    <a:moveTo>
                      <a:pt x="274004" y="144462"/>
                    </a:moveTo>
                    <a:cubicBezTo>
                      <a:pt x="274004" y="144462"/>
                      <a:pt x="274004" y="144462"/>
                      <a:pt x="141287" y="476250"/>
                    </a:cubicBezTo>
                    <a:cubicBezTo>
                      <a:pt x="141287" y="476250"/>
                      <a:pt x="141287" y="476250"/>
                      <a:pt x="191234" y="476250"/>
                    </a:cubicBezTo>
                    <a:cubicBezTo>
                      <a:pt x="191234" y="476250"/>
                      <a:pt x="191234" y="476250"/>
                      <a:pt x="215495" y="407038"/>
                    </a:cubicBezTo>
                    <a:cubicBezTo>
                      <a:pt x="215495" y="407038"/>
                      <a:pt x="215495" y="407038"/>
                      <a:pt x="336795" y="407038"/>
                    </a:cubicBezTo>
                    <a:cubicBezTo>
                      <a:pt x="336795" y="407038"/>
                      <a:pt x="336795" y="407038"/>
                      <a:pt x="359628" y="476250"/>
                    </a:cubicBezTo>
                    <a:cubicBezTo>
                      <a:pt x="359628" y="476250"/>
                      <a:pt x="359628" y="476250"/>
                      <a:pt x="409575" y="476250"/>
                    </a:cubicBezTo>
                    <a:cubicBezTo>
                      <a:pt x="409575" y="476250"/>
                      <a:pt x="409575" y="476250"/>
                      <a:pt x="286134" y="144462"/>
                    </a:cubicBezTo>
                    <a:cubicBezTo>
                      <a:pt x="286134" y="144462"/>
                      <a:pt x="286134" y="144462"/>
                      <a:pt x="274004" y="144462"/>
                    </a:cubicBezTo>
                    <a:close/>
                    <a:moveTo>
                      <a:pt x="642621" y="0"/>
                    </a:moveTo>
                    <a:cubicBezTo>
                      <a:pt x="642621" y="0"/>
                      <a:pt x="642621" y="0"/>
                      <a:pt x="1178714" y="0"/>
                    </a:cubicBezTo>
                    <a:cubicBezTo>
                      <a:pt x="1183003" y="0"/>
                      <a:pt x="1185862" y="2856"/>
                      <a:pt x="1185862" y="7139"/>
                    </a:cubicBezTo>
                    <a:cubicBezTo>
                      <a:pt x="1185862" y="7139"/>
                      <a:pt x="1185862" y="7139"/>
                      <a:pt x="1183003" y="638974"/>
                    </a:cubicBezTo>
                    <a:cubicBezTo>
                      <a:pt x="1183003" y="643257"/>
                      <a:pt x="1180144" y="646113"/>
                      <a:pt x="1175855" y="646113"/>
                    </a:cubicBezTo>
                    <a:cubicBezTo>
                      <a:pt x="1175855" y="646113"/>
                      <a:pt x="1175855" y="646113"/>
                      <a:pt x="639762" y="646113"/>
                    </a:cubicBezTo>
                    <a:cubicBezTo>
                      <a:pt x="639762" y="646113"/>
                      <a:pt x="639762" y="646113"/>
                      <a:pt x="642621" y="0"/>
                    </a:cubicBezTo>
                    <a:close/>
                    <a:moveTo>
                      <a:pt x="10013" y="0"/>
                    </a:moveTo>
                    <a:cubicBezTo>
                      <a:pt x="10013" y="0"/>
                      <a:pt x="10013" y="0"/>
                      <a:pt x="549275" y="0"/>
                    </a:cubicBezTo>
                    <a:cubicBezTo>
                      <a:pt x="549275" y="0"/>
                      <a:pt x="549275" y="0"/>
                      <a:pt x="546414" y="646113"/>
                    </a:cubicBezTo>
                    <a:cubicBezTo>
                      <a:pt x="546414" y="646113"/>
                      <a:pt x="546414" y="646113"/>
                      <a:pt x="7152" y="646113"/>
                    </a:cubicBezTo>
                    <a:cubicBezTo>
                      <a:pt x="2861" y="646113"/>
                      <a:pt x="0" y="643257"/>
                      <a:pt x="0" y="638974"/>
                    </a:cubicBezTo>
                    <a:cubicBezTo>
                      <a:pt x="0" y="638974"/>
                      <a:pt x="0" y="638974"/>
                      <a:pt x="2861" y="7139"/>
                    </a:cubicBezTo>
                    <a:cubicBezTo>
                      <a:pt x="2861" y="2856"/>
                      <a:pt x="5722" y="0"/>
                      <a:pt x="100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dirty="0"/>
              </a:p>
            </p:txBody>
          </p:sp>
        </p:grpSp>
      </p:grpSp>
      <p:grpSp>
        <p:nvGrpSpPr>
          <p:cNvPr id="23" name="bcgIcons_LogicTree">
            <a:extLst>
              <a:ext uri="{FF2B5EF4-FFF2-40B4-BE49-F238E27FC236}">
                <a16:creationId xmlns:a16="http://schemas.microsoft.com/office/drawing/2014/main" id="{75517C07-F054-4829-ABCD-E121AE22A1D1}"/>
              </a:ext>
            </a:extLst>
          </p:cNvPr>
          <p:cNvGrpSpPr>
            <a:grpSpLocks noChangeAspect="1"/>
          </p:cNvGrpSpPr>
          <p:nvPr/>
        </p:nvGrpSpPr>
        <p:grpSpPr bwMode="auto">
          <a:xfrm>
            <a:off x="995116" y="1770826"/>
            <a:ext cx="812341" cy="813093"/>
            <a:chOff x="1682" y="0"/>
            <a:chExt cx="4316" cy="4320"/>
          </a:xfrm>
        </p:grpSpPr>
        <p:sp>
          <p:nvSpPr>
            <p:cNvPr id="24" name="AutoShape 3">
              <a:extLst>
                <a:ext uri="{FF2B5EF4-FFF2-40B4-BE49-F238E27FC236}">
                  <a16:creationId xmlns:a16="http://schemas.microsoft.com/office/drawing/2014/main" id="{0752A4AF-84B3-4F20-B02C-7CECC8D059F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
              <a:extLst>
                <a:ext uri="{FF2B5EF4-FFF2-40B4-BE49-F238E27FC236}">
                  <a16:creationId xmlns:a16="http://schemas.microsoft.com/office/drawing/2014/main" id="{0543821B-2536-48B5-A624-D843C5D76085}"/>
                </a:ext>
              </a:extLst>
            </p:cNvPr>
            <p:cNvSpPr>
              <a:spLocks noEditPoints="1"/>
            </p:cNvSpPr>
            <p:nvPr/>
          </p:nvSpPr>
          <p:spPr bwMode="auto">
            <a:xfrm>
              <a:off x="2126" y="446"/>
              <a:ext cx="3424" cy="3428"/>
            </a:xfrm>
            <a:custGeom>
              <a:avLst/>
              <a:gdLst>
                <a:gd name="T0" fmla="*/ 914 w 1828"/>
                <a:gd name="T1" fmla="*/ 491 h 1828"/>
                <a:gd name="T2" fmla="*/ 668 w 1828"/>
                <a:gd name="T3" fmla="*/ 246 h 1828"/>
                <a:gd name="T4" fmla="*/ 914 w 1828"/>
                <a:gd name="T5" fmla="*/ 0 h 1828"/>
                <a:gd name="T6" fmla="*/ 1160 w 1828"/>
                <a:gd name="T7" fmla="*/ 246 h 1828"/>
                <a:gd name="T8" fmla="*/ 914 w 1828"/>
                <a:gd name="T9" fmla="*/ 491 h 1828"/>
                <a:gd name="T10" fmla="*/ 881 w 1828"/>
                <a:gd name="T11" fmla="*/ 1704 h 1828"/>
                <a:gd name="T12" fmla="*/ 757 w 1828"/>
                <a:gd name="T13" fmla="*/ 1580 h 1828"/>
                <a:gd name="T14" fmla="*/ 633 w 1828"/>
                <a:gd name="T15" fmla="*/ 1704 h 1828"/>
                <a:gd name="T16" fmla="*/ 757 w 1828"/>
                <a:gd name="T17" fmla="*/ 1828 h 1828"/>
                <a:gd name="T18" fmla="*/ 881 w 1828"/>
                <a:gd name="T19" fmla="*/ 1704 h 1828"/>
                <a:gd name="T20" fmla="*/ 1195 w 1828"/>
                <a:gd name="T21" fmla="*/ 1704 h 1828"/>
                <a:gd name="T22" fmla="*/ 1071 w 1828"/>
                <a:gd name="T23" fmla="*/ 1580 h 1828"/>
                <a:gd name="T24" fmla="*/ 947 w 1828"/>
                <a:gd name="T25" fmla="*/ 1704 h 1828"/>
                <a:gd name="T26" fmla="*/ 1071 w 1828"/>
                <a:gd name="T27" fmla="*/ 1828 h 1828"/>
                <a:gd name="T28" fmla="*/ 1195 w 1828"/>
                <a:gd name="T29" fmla="*/ 1704 h 1828"/>
                <a:gd name="T30" fmla="*/ 1513 w 1828"/>
                <a:gd name="T31" fmla="*/ 1704 h 1828"/>
                <a:gd name="T32" fmla="*/ 1389 w 1828"/>
                <a:gd name="T33" fmla="*/ 1580 h 1828"/>
                <a:gd name="T34" fmla="*/ 1265 w 1828"/>
                <a:gd name="T35" fmla="*/ 1704 h 1828"/>
                <a:gd name="T36" fmla="*/ 1389 w 1828"/>
                <a:gd name="T37" fmla="*/ 1828 h 1828"/>
                <a:gd name="T38" fmla="*/ 1513 w 1828"/>
                <a:gd name="T39" fmla="*/ 1704 h 1828"/>
                <a:gd name="T40" fmla="*/ 1828 w 1828"/>
                <a:gd name="T41" fmla="*/ 1704 h 1828"/>
                <a:gd name="T42" fmla="*/ 1704 w 1828"/>
                <a:gd name="T43" fmla="*/ 1580 h 1828"/>
                <a:gd name="T44" fmla="*/ 1580 w 1828"/>
                <a:gd name="T45" fmla="*/ 1704 h 1828"/>
                <a:gd name="T46" fmla="*/ 1704 w 1828"/>
                <a:gd name="T47" fmla="*/ 1828 h 1828"/>
                <a:gd name="T48" fmla="*/ 1828 w 1828"/>
                <a:gd name="T49" fmla="*/ 1704 h 1828"/>
                <a:gd name="T50" fmla="*/ 248 w 1828"/>
                <a:gd name="T51" fmla="*/ 1704 h 1828"/>
                <a:gd name="T52" fmla="*/ 124 w 1828"/>
                <a:gd name="T53" fmla="*/ 1580 h 1828"/>
                <a:gd name="T54" fmla="*/ 0 w 1828"/>
                <a:gd name="T55" fmla="*/ 1704 h 1828"/>
                <a:gd name="T56" fmla="*/ 124 w 1828"/>
                <a:gd name="T57" fmla="*/ 1828 h 1828"/>
                <a:gd name="T58" fmla="*/ 248 w 1828"/>
                <a:gd name="T59" fmla="*/ 1704 h 1828"/>
                <a:gd name="T60" fmla="*/ 563 w 1828"/>
                <a:gd name="T61" fmla="*/ 1704 h 1828"/>
                <a:gd name="T62" fmla="*/ 439 w 1828"/>
                <a:gd name="T63" fmla="*/ 1580 h 1828"/>
                <a:gd name="T64" fmla="*/ 315 w 1828"/>
                <a:gd name="T65" fmla="*/ 1704 h 1828"/>
                <a:gd name="T66" fmla="*/ 439 w 1828"/>
                <a:gd name="T67" fmla="*/ 1828 h 1828"/>
                <a:gd name="T68" fmla="*/ 563 w 1828"/>
                <a:gd name="T69" fmla="*/ 1704 h 1828"/>
                <a:gd name="T70" fmla="*/ 468 w 1828"/>
                <a:gd name="T71" fmla="*/ 1200 h 1828"/>
                <a:gd name="T72" fmla="*/ 468 w 1828"/>
                <a:gd name="T73" fmla="*/ 871 h 1828"/>
                <a:gd name="T74" fmla="*/ 446 w 1828"/>
                <a:gd name="T75" fmla="*/ 849 h 1828"/>
                <a:gd name="T76" fmla="*/ 117 w 1828"/>
                <a:gd name="T77" fmla="*/ 849 h 1828"/>
                <a:gd name="T78" fmla="*/ 95 w 1828"/>
                <a:gd name="T79" fmla="*/ 871 h 1828"/>
                <a:gd name="T80" fmla="*/ 95 w 1828"/>
                <a:gd name="T81" fmla="*/ 1200 h 1828"/>
                <a:gd name="T82" fmla="*/ 117 w 1828"/>
                <a:gd name="T83" fmla="*/ 1222 h 1828"/>
                <a:gd name="T84" fmla="*/ 446 w 1828"/>
                <a:gd name="T85" fmla="*/ 1222 h 1828"/>
                <a:gd name="T86" fmla="*/ 468 w 1828"/>
                <a:gd name="T87" fmla="*/ 1200 h 1828"/>
                <a:gd name="T88" fmla="*/ 1101 w 1828"/>
                <a:gd name="T89" fmla="*/ 1200 h 1828"/>
                <a:gd name="T90" fmla="*/ 1101 w 1828"/>
                <a:gd name="T91" fmla="*/ 871 h 1828"/>
                <a:gd name="T92" fmla="*/ 1079 w 1828"/>
                <a:gd name="T93" fmla="*/ 849 h 1828"/>
                <a:gd name="T94" fmla="*/ 749 w 1828"/>
                <a:gd name="T95" fmla="*/ 849 h 1828"/>
                <a:gd name="T96" fmla="*/ 727 w 1828"/>
                <a:gd name="T97" fmla="*/ 871 h 1828"/>
                <a:gd name="T98" fmla="*/ 727 w 1828"/>
                <a:gd name="T99" fmla="*/ 1200 h 1828"/>
                <a:gd name="T100" fmla="*/ 749 w 1828"/>
                <a:gd name="T101" fmla="*/ 1222 h 1828"/>
                <a:gd name="T102" fmla="*/ 1079 w 1828"/>
                <a:gd name="T103" fmla="*/ 1222 h 1828"/>
                <a:gd name="T104" fmla="*/ 1101 w 1828"/>
                <a:gd name="T105" fmla="*/ 1200 h 1828"/>
                <a:gd name="T106" fmla="*/ 1733 w 1828"/>
                <a:gd name="T107" fmla="*/ 1200 h 1828"/>
                <a:gd name="T108" fmla="*/ 1733 w 1828"/>
                <a:gd name="T109" fmla="*/ 871 h 1828"/>
                <a:gd name="T110" fmla="*/ 1711 w 1828"/>
                <a:gd name="T111" fmla="*/ 849 h 1828"/>
                <a:gd name="T112" fmla="*/ 1382 w 1828"/>
                <a:gd name="T113" fmla="*/ 849 h 1828"/>
                <a:gd name="T114" fmla="*/ 1360 w 1828"/>
                <a:gd name="T115" fmla="*/ 871 h 1828"/>
                <a:gd name="T116" fmla="*/ 1360 w 1828"/>
                <a:gd name="T117" fmla="*/ 1200 h 1828"/>
                <a:gd name="T118" fmla="*/ 1382 w 1828"/>
                <a:gd name="T119" fmla="*/ 1222 h 1828"/>
                <a:gd name="T120" fmla="*/ 1711 w 1828"/>
                <a:gd name="T121" fmla="*/ 1222 h 1828"/>
                <a:gd name="T122" fmla="*/ 1733 w 1828"/>
                <a:gd name="T123" fmla="*/ 120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8" h="1828">
                  <a:moveTo>
                    <a:pt x="914" y="491"/>
                  </a:moveTo>
                  <a:cubicBezTo>
                    <a:pt x="778" y="491"/>
                    <a:pt x="668" y="381"/>
                    <a:pt x="668" y="246"/>
                  </a:cubicBezTo>
                  <a:cubicBezTo>
                    <a:pt x="668" y="110"/>
                    <a:pt x="778" y="0"/>
                    <a:pt x="914" y="0"/>
                  </a:cubicBezTo>
                  <a:cubicBezTo>
                    <a:pt x="1050" y="0"/>
                    <a:pt x="1160" y="110"/>
                    <a:pt x="1160" y="246"/>
                  </a:cubicBezTo>
                  <a:cubicBezTo>
                    <a:pt x="1160" y="381"/>
                    <a:pt x="1050" y="491"/>
                    <a:pt x="914" y="491"/>
                  </a:cubicBezTo>
                  <a:close/>
                  <a:moveTo>
                    <a:pt x="881" y="1704"/>
                  </a:moveTo>
                  <a:cubicBezTo>
                    <a:pt x="881" y="1635"/>
                    <a:pt x="825" y="1580"/>
                    <a:pt x="757" y="1580"/>
                  </a:cubicBezTo>
                  <a:cubicBezTo>
                    <a:pt x="688" y="1580"/>
                    <a:pt x="633" y="1635"/>
                    <a:pt x="633" y="1704"/>
                  </a:cubicBezTo>
                  <a:cubicBezTo>
                    <a:pt x="633" y="1772"/>
                    <a:pt x="688" y="1828"/>
                    <a:pt x="757" y="1828"/>
                  </a:cubicBezTo>
                  <a:cubicBezTo>
                    <a:pt x="825" y="1828"/>
                    <a:pt x="881" y="1772"/>
                    <a:pt x="881" y="1704"/>
                  </a:cubicBezTo>
                  <a:close/>
                  <a:moveTo>
                    <a:pt x="1195" y="1704"/>
                  </a:moveTo>
                  <a:cubicBezTo>
                    <a:pt x="1195" y="1635"/>
                    <a:pt x="1140" y="1580"/>
                    <a:pt x="1071" y="1580"/>
                  </a:cubicBezTo>
                  <a:cubicBezTo>
                    <a:pt x="1003" y="1580"/>
                    <a:pt x="947" y="1635"/>
                    <a:pt x="947" y="1704"/>
                  </a:cubicBezTo>
                  <a:cubicBezTo>
                    <a:pt x="947" y="1772"/>
                    <a:pt x="1003" y="1828"/>
                    <a:pt x="1071" y="1828"/>
                  </a:cubicBezTo>
                  <a:cubicBezTo>
                    <a:pt x="1140" y="1828"/>
                    <a:pt x="1195" y="1772"/>
                    <a:pt x="1195" y="1704"/>
                  </a:cubicBezTo>
                  <a:close/>
                  <a:moveTo>
                    <a:pt x="1513" y="1704"/>
                  </a:moveTo>
                  <a:cubicBezTo>
                    <a:pt x="1513" y="1635"/>
                    <a:pt x="1458" y="1580"/>
                    <a:pt x="1389" y="1580"/>
                  </a:cubicBezTo>
                  <a:cubicBezTo>
                    <a:pt x="1321" y="1580"/>
                    <a:pt x="1265" y="1635"/>
                    <a:pt x="1265" y="1704"/>
                  </a:cubicBezTo>
                  <a:cubicBezTo>
                    <a:pt x="1265" y="1772"/>
                    <a:pt x="1321" y="1828"/>
                    <a:pt x="1389" y="1828"/>
                  </a:cubicBezTo>
                  <a:cubicBezTo>
                    <a:pt x="1458" y="1828"/>
                    <a:pt x="1513" y="1772"/>
                    <a:pt x="1513" y="1704"/>
                  </a:cubicBezTo>
                  <a:close/>
                  <a:moveTo>
                    <a:pt x="1828" y="1704"/>
                  </a:moveTo>
                  <a:cubicBezTo>
                    <a:pt x="1828" y="1635"/>
                    <a:pt x="1772" y="1580"/>
                    <a:pt x="1704" y="1580"/>
                  </a:cubicBezTo>
                  <a:cubicBezTo>
                    <a:pt x="1635" y="1580"/>
                    <a:pt x="1580" y="1635"/>
                    <a:pt x="1580" y="1704"/>
                  </a:cubicBezTo>
                  <a:cubicBezTo>
                    <a:pt x="1580" y="1772"/>
                    <a:pt x="1635" y="1828"/>
                    <a:pt x="1704" y="1828"/>
                  </a:cubicBezTo>
                  <a:cubicBezTo>
                    <a:pt x="1772" y="1828"/>
                    <a:pt x="1828" y="1772"/>
                    <a:pt x="1828" y="1704"/>
                  </a:cubicBezTo>
                  <a:close/>
                  <a:moveTo>
                    <a:pt x="248" y="1704"/>
                  </a:moveTo>
                  <a:cubicBezTo>
                    <a:pt x="248" y="1635"/>
                    <a:pt x="193" y="1580"/>
                    <a:pt x="124" y="1580"/>
                  </a:cubicBezTo>
                  <a:cubicBezTo>
                    <a:pt x="56" y="1580"/>
                    <a:pt x="0" y="1635"/>
                    <a:pt x="0" y="1704"/>
                  </a:cubicBezTo>
                  <a:cubicBezTo>
                    <a:pt x="0" y="1772"/>
                    <a:pt x="56" y="1828"/>
                    <a:pt x="124" y="1828"/>
                  </a:cubicBezTo>
                  <a:cubicBezTo>
                    <a:pt x="193" y="1828"/>
                    <a:pt x="248" y="1772"/>
                    <a:pt x="248" y="1704"/>
                  </a:cubicBezTo>
                  <a:close/>
                  <a:moveTo>
                    <a:pt x="563" y="1704"/>
                  </a:moveTo>
                  <a:cubicBezTo>
                    <a:pt x="563" y="1635"/>
                    <a:pt x="507" y="1580"/>
                    <a:pt x="439" y="1580"/>
                  </a:cubicBezTo>
                  <a:cubicBezTo>
                    <a:pt x="370" y="1580"/>
                    <a:pt x="315" y="1635"/>
                    <a:pt x="315" y="1704"/>
                  </a:cubicBezTo>
                  <a:cubicBezTo>
                    <a:pt x="315" y="1772"/>
                    <a:pt x="370" y="1828"/>
                    <a:pt x="439" y="1828"/>
                  </a:cubicBezTo>
                  <a:cubicBezTo>
                    <a:pt x="507" y="1828"/>
                    <a:pt x="563" y="1772"/>
                    <a:pt x="563" y="1704"/>
                  </a:cubicBezTo>
                  <a:close/>
                  <a:moveTo>
                    <a:pt x="468" y="1200"/>
                  </a:moveTo>
                  <a:cubicBezTo>
                    <a:pt x="468" y="871"/>
                    <a:pt x="468" y="871"/>
                    <a:pt x="468" y="871"/>
                  </a:cubicBezTo>
                  <a:cubicBezTo>
                    <a:pt x="468" y="859"/>
                    <a:pt x="458" y="849"/>
                    <a:pt x="446" y="849"/>
                  </a:cubicBezTo>
                  <a:cubicBezTo>
                    <a:pt x="117" y="849"/>
                    <a:pt x="117" y="849"/>
                    <a:pt x="117" y="849"/>
                  </a:cubicBezTo>
                  <a:cubicBezTo>
                    <a:pt x="105" y="849"/>
                    <a:pt x="95" y="859"/>
                    <a:pt x="95" y="871"/>
                  </a:cubicBezTo>
                  <a:cubicBezTo>
                    <a:pt x="95" y="1200"/>
                    <a:pt x="95" y="1200"/>
                    <a:pt x="95" y="1200"/>
                  </a:cubicBezTo>
                  <a:cubicBezTo>
                    <a:pt x="95" y="1212"/>
                    <a:pt x="105" y="1222"/>
                    <a:pt x="117" y="1222"/>
                  </a:cubicBezTo>
                  <a:cubicBezTo>
                    <a:pt x="446" y="1222"/>
                    <a:pt x="446" y="1222"/>
                    <a:pt x="446" y="1222"/>
                  </a:cubicBezTo>
                  <a:cubicBezTo>
                    <a:pt x="458" y="1222"/>
                    <a:pt x="468" y="1212"/>
                    <a:pt x="468" y="1200"/>
                  </a:cubicBezTo>
                  <a:close/>
                  <a:moveTo>
                    <a:pt x="1101" y="1200"/>
                  </a:moveTo>
                  <a:cubicBezTo>
                    <a:pt x="1101" y="871"/>
                    <a:pt x="1101" y="871"/>
                    <a:pt x="1101" y="871"/>
                  </a:cubicBezTo>
                  <a:cubicBezTo>
                    <a:pt x="1101" y="859"/>
                    <a:pt x="1091" y="849"/>
                    <a:pt x="1079" y="849"/>
                  </a:cubicBezTo>
                  <a:cubicBezTo>
                    <a:pt x="749" y="849"/>
                    <a:pt x="749" y="849"/>
                    <a:pt x="749" y="849"/>
                  </a:cubicBezTo>
                  <a:cubicBezTo>
                    <a:pt x="737" y="849"/>
                    <a:pt x="727" y="859"/>
                    <a:pt x="727" y="871"/>
                  </a:cubicBezTo>
                  <a:cubicBezTo>
                    <a:pt x="727" y="1200"/>
                    <a:pt x="727" y="1200"/>
                    <a:pt x="727" y="1200"/>
                  </a:cubicBezTo>
                  <a:cubicBezTo>
                    <a:pt x="727" y="1212"/>
                    <a:pt x="737" y="1222"/>
                    <a:pt x="749" y="1222"/>
                  </a:cubicBezTo>
                  <a:cubicBezTo>
                    <a:pt x="1079" y="1222"/>
                    <a:pt x="1079" y="1222"/>
                    <a:pt x="1079" y="1222"/>
                  </a:cubicBezTo>
                  <a:cubicBezTo>
                    <a:pt x="1091" y="1222"/>
                    <a:pt x="1101" y="1212"/>
                    <a:pt x="1101" y="1200"/>
                  </a:cubicBezTo>
                  <a:close/>
                  <a:moveTo>
                    <a:pt x="1733" y="1200"/>
                  </a:moveTo>
                  <a:cubicBezTo>
                    <a:pt x="1733" y="871"/>
                    <a:pt x="1733" y="871"/>
                    <a:pt x="1733" y="871"/>
                  </a:cubicBezTo>
                  <a:cubicBezTo>
                    <a:pt x="1733" y="859"/>
                    <a:pt x="1723" y="849"/>
                    <a:pt x="1711" y="849"/>
                  </a:cubicBezTo>
                  <a:cubicBezTo>
                    <a:pt x="1382" y="849"/>
                    <a:pt x="1382" y="849"/>
                    <a:pt x="1382" y="849"/>
                  </a:cubicBezTo>
                  <a:cubicBezTo>
                    <a:pt x="1370" y="849"/>
                    <a:pt x="1360" y="859"/>
                    <a:pt x="1360" y="871"/>
                  </a:cubicBezTo>
                  <a:cubicBezTo>
                    <a:pt x="1360" y="1200"/>
                    <a:pt x="1360" y="1200"/>
                    <a:pt x="1360" y="1200"/>
                  </a:cubicBezTo>
                  <a:cubicBezTo>
                    <a:pt x="1360" y="1212"/>
                    <a:pt x="1370" y="1222"/>
                    <a:pt x="1382" y="1222"/>
                  </a:cubicBezTo>
                  <a:cubicBezTo>
                    <a:pt x="1711" y="1222"/>
                    <a:pt x="1711" y="1222"/>
                    <a:pt x="1711" y="1222"/>
                  </a:cubicBezTo>
                  <a:cubicBezTo>
                    <a:pt x="1723" y="1222"/>
                    <a:pt x="1733" y="1212"/>
                    <a:pt x="1733" y="12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6">
              <a:extLst>
                <a:ext uri="{FF2B5EF4-FFF2-40B4-BE49-F238E27FC236}">
                  <a16:creationId xmlns:a16="http://schemas.microsoft.com/office/drawing/2014/main" id="{8A79B397-1A17-4C6E-907C-ACCE065809FA}"/>
                </a:ext>
              </a:extLst>
            </p:cNvPr>
            <p:cNvSpPr>
              <a:spLocks noEditPoints="1"/>
            </p:cNvSpPr>
            <p:nvPr/>
          </p:nvSpPr>
          <p:spPr bwMode="auto">
            <a:xfrm>
              <a:off x="2317" y="1448"/>
              <a:ext cx="3042" cy="1880"/>
            </a:xfrm>
            <a:custGeom>
              <a:avLst/>
              <a:gdLst>
                <a:gd name="T0" fmla="*/ 359 w 1624"/>
                <a:gd name="T1" fmla="*/ 1003 h 1003"/>
                <a:gd name="T2" fmla="*/ 315 w 1624"/>
                <a:gd name="T3" fmla="*/ 1003 h 1003"/>
                <a:gd name="T4" fmla="*/ 44 w 1624"/>
                <a:gd name="T5" fmla="*/ 889 h 1003"/>
                <a:gd name="T6" fmla="*/ 22 w 1624"/>
                <a:gd name="T7" fmla="*/ 1002 h 1003"/>
                <a:gd name="T8" fmla="*/ 0 w 1624"/>
                <a:gd name="T9" fmla="*/ 867 h 1003"/>
                <a:gd name="T10" fmla="*/ 157 w 1624"/>
                <a:gd name="T11" fmla="*/ 845 h 1003"/>
                <a:gd name="T12" fmla="*/ 201 w 1624"/>
                <a:gd name="T13" fmla="*/ 732 h 1003"/>
                <a:gd name="T14" fmla="*/ 337 w 1624"/>
                <a:gd name="T15" fmla="*/ 845 h 1003"/>
                <a:gd name="T16" fmla="*/ 969 w 1624"/>
                <a:gd name="T17" fmla="*/ 845 h 1003"/>
                <a:gd name="T18" fmla="*/ 834 w 1624"/>
                <a:gd name="T19" fmla="*/ 732 h 1003"/>
                <a:gd name="T20" fmla="*/ 790 w 1624"/>
                <a:gd name="T21" fmla="*/ 845 h 1003"/>
                <a:gd name="T22" fmla="*/ 633 w 1624"/>
                <a:gd name="T23" fmla="*/ 867 h 1003"/>
                <a:gd name="T24" fmla="*/ 655 w 1624"/>
                <a:gd name="T25" fmla="*/ 1002 h 1003"/>
                <a:gd name="T26" fmla="*/ 677 w 1624"/>
                <a:gd name="T27" fmla="*/ 889 h 1003"/>
                <a:gd name="T28" fmla="*/ 947 w 1624"/>
                <a:gd name="T29" fmla="*/ 1003 h 1003"/>
                <a:gd name="T30" fmla="*/ 991 w 1624"/>
                <a:gd name="T31" fmla="*/ 1003 h 1003"/>
                <a:gd name="T32" fmla="*/ 969 w 1624"/>
                <a:gd name="T33" fmla="*/ 845 h 1003"/>
                <a:gd name="T34" fmla="*/ 1467 w 1624"/>
                <a:gd name="T35" fmla="*/ 845 h 1003"/>
                <a:gd name="T36" fmla="*/ 1423 w 1624"/>
                <a:gd name="T37" fmla="*/ 732 h 1003"/>
                <a:gd name="T38" fmla="*/ 1287 w 1624"/>
                <a:gd name="T39" fmla="*/ 845 h 1003"/>
                <a:gd name="T40" fmla="*/ 1265 w 1624"/>
                <a:gd name="T41" fmla="*/ 1003 h 1003"/>
                <a:gd name="T42" fmla="*/ 1309 w 1624"/>
                <a:gd name="T43" fmla="*/ 1003 h 1003"/>
                <a:gd name="T44" fmla="*/ 1580 w 1624"/>
                <a:gd name="T45" fmla="*/ 889 h 1003"/>
                <a:gd name="T46" fmla="*/ 1602 w 1624"/>
                <a:gd name="T47" fmla="*/ 1002 h 1003"/>
                <a:gd name="T48" fmla="*/ 1624 w 1624"/>
                <a:gd name="T49" fmla="*/ 867 h 1003"/>
                <a:gd name="T50" fmla="*/ 1445 w 1624"/>
                <a:gd name="T51" fmla="*/ 114 h 1003"/>
                <a:gd name="T52" fmla="*/ 834 w 1624"/>
                <a:gd name="T53" fmla="*/ 0 h 1003"/>
                <a:gd name="T54" fmla="*/ 790 w 1624"/>
                <a:gd name="T55" fmla="*/ 0 h 1003"/>
                <a:gd name="T56" fmla="*/ 179 w 1624"/>
                <a:gd name="T57" fmla="*/ 114 h 1003"/>
                <a:gd name="T58" fmla="*/ 157 w 1624"/>
                <a:gd name="T59" fmla="*/ 271 h 1003"/>
                <a:gd name="T60" fmla="*/ 201 w 1624"/>
                <a:gd name="T61" fmla="*/ 158 h 1003"/>
                <a:gd name="T62" fmla="*/ 790 w 1624"/>
                <a:gd name="T63" fmla="*/ 271 h 1003"/>
                <a:gd name="T64" fmla="*/ 834 w 1624"/>
                <a:gd name="T65" fmla="*/ 158 h 1003"/>
                <a:gd name="T66" fmla="*/ 1423 w 1624"/>
                <a:gd name="T67" fmla="*/ 271 h 1003"/>
                <a:gd name="T68" fmla="*/ 1467 w 1624"/>
                <a:gd name="T69" fmla="*/ 13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4" h="1003">
                  <a:moveTo>
                    <a:pt x="359" y="867"/>
                  </a:moveTo>
                  <a:cubicBezTo>
                    <a:pt x="359" y="1003"/>
                    <a:pt x="359" y="1003"/>
                    <a:pt x="359" y="1003"/>
                  </a:cubicBezTo>
                  <a:cubicBezTo>
                    <a:pt x="352" y="1002"/>
                    <a:pt x="344" y="1002"/>
                    <a:pt x="337" y="1002"/>
                  </a:cubicBezTo>
                  <a:cubicBezTo>
                    <a:pt x="329" y="1002"/>
                    <a:pt x="322" y="1002"/>
                    <a:pt x="315" y="1003"/>
                  </a:cubicBezTo>
                  <a:cubicBezTo>
                    <a:pt x="315" y="889"/>
                    <a:pt x="315" y="889"/>
                    <a:pt x="315" y="889"/>
                  </a:cubicBezTo>
                  <a:cubicBezTo>
                    <a:pt x="44" y="889"/>
                    <a:pt x="44" y="889"/>
                    <a:pt x="44" y="889"/>
                  </a:cubicBezTo>
                  <a:cubicBezTo>
                    <a:pt x="44" y="1003"/>
                    <a:pt x="44" y="1003"/>
                    <a:pt x="44" y="1003"/>
                  </a:cubicBezTo>
                  <a:cubicBezTo>
                    <a:pt x="37" y="1002"/>
                    <a:pt x="30" y="1002"/>
                    <a:pt x="22" y="1002"/>
                  </a:cubicBezTo>
                  <a:cubicBezTo>
                    <a:pt x="15" y="1002"/>
                    <a:pt x="7" y="1002"/>
                    <a:pt x="0" y="1003"/>
                  </a:cubicBezTo>
                  <a:cubicBezTo>
                    <a:pt x="0" y="867"/>
                    <a:pt x="0" y="867"/>
                    <a:pt x="0" y="867"/>
                  </a:cubicBezTo>
                  <a:cubicBezTo>
                    <a:pt x="0" y="855"/>
                    <a:pt x="10" y="845"/>
                    <a:pt x="22" y="845"/>
                  </a:cubicBezTo>
                  <a:cubicBezTo>
                    <a:pt x="157" y="845"/>
                    <a:pt x="157" y="845"/>
                    <a:pt x="157" y="845"/>
                  </a:cubicBezTo>
                  <a:cubicBezTo>
                    <a:pt x="157" y="732"/>
                    <a:pt x="157" y="732"/>
                    <a:pt x="157" y="732"/>
                  </a:cubicBezTo>
                  <a:cubicBezTo>
                    <a:pt x="201" y="732"/>
                    <a:pt x="201" y="732"/>
                    <a:pt x="201" y="732"/>
                  </a:cubicBezTo>
                  <a:cubicBezTo>
                    <a:pt x="201" y="845"/>
                    <a:pt x="201" y="845"/>
                    <a:pt x="201" y="845"/>
                  </a:cubicBezTo>
                  <a:cubicBezTo>
                    <a:pt x="337" y="845"/>
                    <a:pt x="337" y="845"/>
                    <a:pt x="337" y="845"/>
                  </a:cubicBezTo>
                  <a:cubicBezTo>
                    <a:pt x="349" y="845"/>
                    <a:pt x="359" y="855"/>
                    <a:pt x="359" y="867"/>
                  </a:cubicBezTo>
                  <a:close/>
                  <a:moveTo>
                    <a:pt x="969" y="845"/>
                  </a:moveTo>
                  <a:cubicBezTo>
                    <a:pt x="834" y="845"/>
                    <a:pt x="834" y="845"/>
                    <a:pt x="834" y="845"/>
                  </a:cubicBezTo>
                  <a:cubicBezTo>
                    <a:pt x="834" y="732"/>
                    <a:pt x="834" y="732"/>
                    <a:pt x="834" y="732"/>
                  </a:cubicBezTo>
                  <a:cubicBezTo>
                    <a:pt x="790" y="732"/>
                    <a:pt x="790" y="732"/>
                    <a:pt x="790" y="732"/>
                  </a:cubicBezTo>
                  <a:cubicBezTo>
                    <a:pt x="790" y="845"/>
                    <a:pt x="790" y="845"/>
                    <a:pt x="790" y="845"/>
                  </a:cubicBezTo>
                  <a:cubicBezTo>
                    <a:pt x="655" y="845"/>
                    <a:pt x="655" y="845"/>
                    <a:pt x="655" y="845"/>
                  </a:cubicBezTo>
                  <a:cubicBezTo>
                    <a:pt x="643" y="845"/>
                    <a:pt x="633" y="855"/>
                    <a:pt x="633" y="867"/>
                  </a:cubicBezTo>
                  <a:cubicBezTo>
                    <a:pt x="633" y="1003"/>
                    <a:pt x="633" y="1003"/>
                    <a:pt x="633" y="1003"/>
                  </a:cubicBezTo>
                  <a:cubicBezTo>
                    <a:pt x="640" y="1002"/>
                    <a:pt x="647" y="1002"/>
                    <a:pt x="655" y="1002"/>
                  </a:cubicBezTo>
                  <a:cubicBezTo>
                    <a:pt x="662" y="1002"/>
                    <a:pt x="669" y="1002"/>
                    <a:pt x="677" y="1003"/>
                  </a:cubicBezTo>
                  <a:cubicBezTo>
                    <a:pt x="677" y="889"/>
                    <a:pt x="677" y="889"/>
                    <a:pt x="677" y="889"/>
                  </a:cubicBezTo>
                  <a:cubicBezTo>
                    <a:pt x="947" y="889"/>
                    <a:pt x="947" y="889"/>
                    <a:pt x="947" y="889"/>
                  </a:cubicBezTo>
                  <a:cubicBezTo>
                    <a:pt x="947" y="1003"/>
                    <a:pt x="947" y="1003"/>
                    <a:pt x="947" y="1003"/>
                  </a:cubicBezTo>
                  <a:cubicBezTo>
                    <a:pt x="955" y="1002"/>
                    <a:pt x="962" y="1002"/>
                    <a:pt x="969" y="1002"/>
                  </a:cubicBezTo>
                  <a:cubicBezTo>
                    <a:pt x="977" y="1002"/>
                    <a:pt x="984" y="1002"/>
                    <a:pt x="991" y="1003"/>
                  </a:cubicBezTo>
                  <a:cubicBezTo>
                    <a:pt x="991" y="867"/>
                    <a:pt x="991" y="867"/>
                    <a:pt x="991" y="867"/>
                  </a:cubicBezTo>
                  <a:cubicBezTo>
                    <a:pt x="991" y="855"/>
                    <a:pt x="981" y="845"/>
                    <a:pt x="969" y="845"/>
                  </a:cubicBezTo>
                  <a:close/>
                  <a:moveTo>
                    <a:pt x="1602" y="845"/>
                  </a:moveTo>
                  <a:cubicBezTo>
                    <a:pt x="1467" y="845"/>
                    <a:pt x="1467" y="845"/>
                    <a:pt x="1467" y="845"/>
                  </a:cubicBezTo>
                  <a:cubicBezTo>
                    <a:pt x="1467" y="732"/>
                    <a:pt x="1467" y="732"/>
                    <a:pt x="1467" y="732"/>
                  </a:cubicBezTo>
                  <a:cubicBezTo>
                    <a:pt x="1423" y="732"/>
                    <a:pt x="1423" y="732"/>
                    <a:pt x="1423" y="732"/>
                  </a:cubicBezTo>
                  <a:cubicBezTo>
                    <a:pt x="1423" y="845"/>
                    <a:pt x="1423" y="845"/>
                    <a:pt x="1423" y="845"/>
                  </a:cubicBezTo>
                  <a:cubicBezTo>
                    <a:pt x="1287" y="845"/>
                    <a:pt x="1287" y="845"/>
                    <a:pt x="1287" y="845"/>
                  </a:cubicBezTo>
                  <a:cubicBezTo>
                    <a:pt x="1275" y="845"/>
                    <a:pt x="1265" y="855"/>
                    <a:pt x="1265" y="867"/>
                  </a:cubicBezTo>
                  <a:cubicBezTo>
                    <a:pt x="1265" y="1003"/>
                    <a:pt x="1265" y="1003"/>
                    <a:pt x="1265" y="1003"/>
                  </a:cubicBezTo>
                  <a:cubicBezTo>
                    <a:pt x="1272" y="1002"/>
                    <a:pt x="1280" y="1002"/>
                    <a:pt x="1287" y="1002"/>
                  </a:cubicBezTo>
                  <a:cubicBezTo>
                    <a:pt x="1295" y="1002"/>
                    <a:pt x="1302" y="1002"/>
                    <a:pt x="1309" y="1003"/>
                  </a:cubicBezTo>
                  <a:cubicBezTo>
                    <a:pt x="1309" y="889"/>
                    <a:pt x="1309" y="889"/>
                    <a:pt x="1309" y="889"/>
                  </a:cubicBezTo>
                  <a:cubicBezTo>
                    <a:pt x="1580" y="889"/>
                    <a:pt x="1580" y="889"/>
                    <a:pt x="1580" y="889"/>
                  </a:cubicBezTo>
                  <a:cubicBezTo>
                    <a:pt x="1580" y="1003"/>
                    <a:pt x="1580" y="1003"/>
                    <a:pt x="1580" y="1003"/>
                  </a:cubicBezTo>
                  <a:cubicBezTo>
                    <a:pt x="1587" y="1002"/>
                    <a:pt x="1594" y="1002"/>
                    <a:pt x="1602" y="1002"/>
                  </a:cubicBezTo>
                  <a:cubicBezTo>
                    <a:pt x="1609" y="1002"/>
                    <a:pt x="1617" y="1002"/>
                    <a:pt x="1624" y="1003"/>
                  </a:cubicBezTo>
                  <a:cubicBezTo>
                    <a:pt x="1624" y="867"/>
                    <a:pt x="1624" y="867"/>
                    <a:pt x="1624" y="867"/>
                  </a:cubicBezTo>
                  <a:cubicBezTo>
                    <a:pt x="1624" y="855"/>
                    <a:pt x="1614" y="845"/>
                    <a:pt x="1602" y="845"/>
                  </a:cubicBezTo>
                  <a:close/>
                  <a:moveTo>
                    <a:pt x="1445" y="114"/>
                  </a:moveTo>
                  <a:cubicBezTo>
                    <a:pt x="834" y="114"/>
                    <a:pt x="834" y="114"/>
                    <a:pt x="834" y="114"/>
                  </a:cubicBezTo>
                  <a:cubicBezTo>
                    <a:pt x="834" y="0"/>
                    <a:pt x="834" y="0"/>
                    <a:pt x="834" y="0"/>
                  </a:cubicBezTo>
                  <a:cubicBezTo>
                    <a:pt x="827" y="1"/>
                    <a:pt x="819" y="1"/>
                    <a:pt x="812" y="1"/>
                  </a:cubicBezTo>
                  <a:cubicBezTo>
                    <a:pt x="805" y="1"/>
                    <a:pt x="797" y="1"/>
                    <a:pt x="790" y="0"/>
                  </a:cubicBezTo>
                  <a:cubicBezTo>
                    <a:pt x="790" y="114"/>
                    <a:pt x="790" y="114"/>
                    <a:pt x="790" y="114"/>
                  </a:cubicBezTo>
                  <a:cubicBezTo>
                    <a:pt x="179" y="114"/>
                    <a:pt x="179" y="114"/>
                    <a:pt x="179" y="114"/>
                  </a:cubicBezTo>
                  <a:cubicBezTo>
                    <a:pt x="167" y="114"/>
                    <a:pt x="157" y="124"/>
                    <a:pt x="157" y="136"/>
                  </a:cubicBezTo>
                  <a:cubicBezTo>
                    <a:pt x="157" y="271"/>
                    <a:pt x="157" y="271"/>
                    <a:pt x="157" y="271"/>
                  </a:cubicBezTo>
                  <a:cubicBezTo>
                    <a:pt x="201" y="271"/>
                    <a:pt x="201" y="271"/>
                    <a:pt x="201" y="271"/>
                  </a:cubicBezTo>
                  <a:cubicBezTo>
                    <a:pt x="201" y="158"/>
                    <a:pt x="201" y="158"/>
                    <a:pt x="201" y="158"/>
                  </a:cubicBezTo>
                  <a:cubicBezTo>
                    <a:pt x="790" y="158"/>
                    <a:pt x="790" y="158"/>
                    <a:pt x="790" y="158"/>
                  </a:cubicBezTo>
                  <a:cubicBezTo>
                    <a:pt x="790" y="271"/>
                    <a:pt x="790" y="271"/>
                    <a:pt x="790" y="271"/>
                  </a:cubicBezTo>
                  <a:cubicBezTo>
                    <a:pt x="834" y="271"/>
                    <a:pt x="834" y="271"/>
                    <a:pt x="834" y="271"/>
                  </a:cubicBezTo>
                  <a:cubicBezTo>
                    <a:pt x="834" y="158"/>
                    <a:pt x="834" y="158"/>
                    <a:pt x="834" y="158"/>
                  </a:cubicBezTo>
                  <a:cubicBezTo>
                    <a:pt x="1423" y="158"/>
                    <a:pt x="1423" y="158"/>
                    <a:pt x="1423" y="158"/>
                  </a:cubicBezTo>
                  <a:cubicBezTo>
                    <a:pt x="1423" y="271"/>
                    <a:pt x="1423" y="271"/>
                    <a:pt x="1423" y="271"/>
                  </a:cubicBezTo>
                  <a:cubicBezTo>
                    <a:pt x="1467" y="271"/>
                    <a:pt x="1467" y="271"/>
                    <a:pt x="1467" y="271"/>
                  </a:cubicBezTo>
                  <a:cubicBezTo>
                    <a:pt x="1467" y="136"/>
                    <a:pt x="1467" y="136"/>
                    <a:pt x="1467" y="136"/>
                  </a:cubicBezTo>
                  <a:cubicBezTo>
                    <a:pt x="1467" y="124"/>
                    <a:pt x="1457" y="114"/>
                    <a:pt x="1445" y="1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42" name="bcgIcons_OnlineSurvey">
            <a:extLst>
              <a:ext uri="{FF2B5EF4-FFF2-40B4-BE49-F238E27FC236}">
                <a16:creationId xmlns:a16="http://schemas.microsoft.com/office/drawing/2014/main" id="{A72FA4AE-AFB7-D240-9882-AC1FB3F74384}"/>
              </a:ext>
            </a:extLst>
          </p:cNvPr>
          <p:cNvGrpSpPr>
            <a:grpSpLocks noChangeAspect="1"/>
          </p:cNvGrpSpPr>
          <p:nvPr/>
        </p:nvGrpSpPr>
        <p:grpSpPr bwMode="auto">
          <a:xfrm>
            <a:off x="979369" y="3805739"/>
            <a:ext cx="843835" cy="844617"/>
            <a:chOff x="1682" y="0"/>
            <a:chExt cx="4316" cy="4320"/>
          </a:xfrm>
        </p:grpSpPr>
        <p:sp>
          <p:nvSpPr>
            <p:cNvPr id="43" name="AutoShape 8">
              <a:extLst>
                <a:ext uri="{FF2B5EF4-FFF2-40B4-BE49-F238E27FC236}">
                  <a16:creationId xmlns:a16="http://schemas.microsoft.com/office/drawing/2014/main" id="{62BBF786-F520-3749-AA2A-C8D2FD31DEB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0">
              <a:extLst>
                <a:ext uri="{FF2B5EF4-FFF2-40B4-BE49-F238E27FC236}">
                  <a16:creationId xmlns:a16="http://schemas.microsoft.com/office/drawing/2014/main" id="{4C32C921-92EA-DC42-A8D2-74C518C8C5F4}"/>
                </a:ext>
              </a:extLst>
            </p:cNvPr>
            <p:cNvSpPr>
              <a:spLocks noEditPoints="1"/>
            </p:cNvSpPr>
            <p:nvPr/>
          </p:nvSpPr>
          <p:spPr bwMode="auto">
            <a:xfrm>
              <a:off x="2085" y="720"/>
              <a:ext cx="3510" cy="2876"/>
            </a:xfrm>
            <a:custGeom>
              <a:avLst/>
              <a:gdLst>
                <a:gd name="T0" fmla="*/ 1327 w 1874"/>
                <a:gd name="T1" fmla="*/ 1534 h 1534"/>
                <a:gd name="T2" fmla="*/ 547 w 1874"/>
                <a:gd name="T3" fmla="*/ 1534 h 1534"/>
                <a:gd name="T4" fmla="*/ 525 w 1874"/>
                <a:gd name="T5" fmla="*/ 1512 h 1534"/>
                <a:gd name="T6" fmla="*/ 525 w 1874"/>
                <a:gd name="T7" fmla="*/ 1436 h 1534"/>
                <a:gd name="T8" fmla="*/ 547 w 1874"/>
                <a:gd name="T9" fmla="*/ 1414 h 1534"/>
                <a:gd name="T10" fmla="*/ 753 w 1874"/>
                <a:gd name="T11" fmla="*/ 1414 h 1534"/>
                <a:gd name="T12" fmla="*/ 753 w 1874"/>
                <a:gd name="T13" fmla="*/ 1366 h 1534"/>
                <a:gd name="T14" fmla="*/ 775 w 1874"/>
                <a:gd name="T15" fmla="*/ 1344 h 1534"/>
                <a:gd name="T16" fmla="*/ 797 w 1874"/>
                <a:gd name="T17" fmla="*/ 1366 h 1534"/>
                <a:gd name="T18" fmla="*/ 797 w 1874"/>
                <a:gd name="T19" fmla="*/ 1436 h 1534"/>
                <a:gd name="T20" fmla="*/ 775 w 1874"/>
                <a:gd name="T21" fmla="*/ 1458 h 1534"/>
                <a:gd name="T22" fmla="*/ 569 w 1874"/>
                <a:gd name="T23" fmla="*/ 1458 h 1534"/>
                <a:gd name="T24" fmla="*/ 569 w 1874"/>
                <a:gd name="T25" fmla="*/ 1490 h 1534"/>
                <a:gd name="T26" fmla="*/ 1305 w 1874"/>
                <a:gd name="T27" fmla="*/ 1490 h 1534"/>
                <a:gd name="T28" fmla="*/ 1305 w 1874"/>
                <a:gd name="T29" fmla="*/ 1458 h 1534"/>
                <a:gd name="T30" fmla="*/ 1101 w 1874"/>
                <a:gd name="T31" fmla="*/ 1458 h 1534"/>
                <a:gd name="T32" fmla="*/ 1079 w 1874"/>
                <a:gd name="T33" fmla="*/ 1436 h 1534"/>
                <a:gd name="T34" fmla="*/ 1079 w 1874"/>
                <a:gd name="T35" fmla="*/ 1366 h 1534"/>
                <a:gd name="T36" fmla="*/ 1101 w 1874"/>
                <a:gd name="T37" fmla="*/ 1344 h 1534"/>
                <a:gd name="T38" fmla="*/ 1123 w 1874"/>
                <a:gd name="T39" fmla="*/ 1366 h 1534"/>
                <a:gd name="T40" fmla="*/ 1123 w 1874"/>
                <a:gd name="T41" fmla="*/ 1414 h 1534"/>
                <a:gd name="T42" fmla="*/ 1327 w 1874"/>
                <a:gd name="T43" fmla="*/ 1414 h 1534"/>
                <a:gd name="T44" fmla="*/ 1349 w 1874"/>
                <a:gd name="T45" fmla="*/ 1436 h 1534"/>
                <a:gd name="T46" fmla="*/ 1349 w 1874"/>
                <a:gd name="T47" fmla="*/ 1512 h 1534"/>
                <a:gd name="T48" fmla="*/ 1327 w 1874"/>
                <a:gd name="T49" fmla="*/ 1534 h 1534"/>
                <a:gd name="T50" fmla="*/ 1874 w 1874"/>
                <a:gd name="T51" fmla="*/ 22 h 1534"/>
                <a:gd name="T52" fmla="*/ 1874 w 1874"/>
                <a:gd name="T53" fmla="*/ 1284 h 1534"/>
                <a:gd name="T54" fmla="*/ 1852 w 1874"/>
                <a:gd name="T55" fmla="*/ 1306 h 1534"/>
                <a:gd name="T56" fmla="*/ 22 w 1874"/>
                <a:gd name="T57" fmla="*/ 1306 h 1534"/>
                <a:gd name="T58" fmla="*/ 0 w 1874"/>
                <a:gd name="T59" fmla="*/ 1284 h 1534"/>
                <a:gd name="T60" fmla="*/ 0 w 1874"/>
                <a:gd name="T61" fmla="*/ 22 h 1534"/>
                <a:gd name="T62" fmla="*/ 22 w 1874"/>
                <a:gd name="T63" fmla="*/ 0 h 1534"/>
                <a:gd name="T64" fmla="*/ 1852 w 1874"/>
                <a:gd name="T65" fmla="*/ 0 h 1534"/>
                <a:gd name="T66" fmla="*/ 1874 w 1874"/>
                <a:gd name="T67" fmla="*/ 22 h 1534"/>
                <a:gd name="T68" fmla="*/ 44 w 1874"/>
                <a:gd name="T69" fmla="*/ 44 h 1534"/>
                <a:gd name="T70" fmla="*/ 44 w 1874"/>
                <a:gd name="T71" fmla="*/ 1091 h 1534"/>
                <a:gd name="T72" fmla="*/ 1830 w 1874"/>
                <a:gd name="T73" fmla="*/ 1091 h 1534"/>
                <a:gd name="T74" fmla="*/ 1830 w 1874"/>
                <a:gd name="T75" fmla="*/ 44 h 1534"/>
                <a:gd name="T76" fmla="*/ 44 w 1874"/>
                <a:gd name="T77" fmla="*/ 44 h 1534"/>
                <a:gd name="T78" fmla="*/ 1830 w 1874"/>
                <a:gd name="T79" fmla="*/ 1262 h 1534"/>
                <a:gd name="T80" fmla="*/ 1830 w 1874"/>
                <a:gd name="T81" fmla="*/ 1135 h 1534"/>
                <a:gd name="T82" fmla="*/ 44 w 1874"/>
                <a:gd name="T83" fmla="*/ 1135 h 1534"/>
                <a:gd name="T84" fmla="*/ 44 w 1874"/>
                <a:gd name="T85" fmla="*/ 1262 h 1534"/>
                <a:gd name="T86" fmla="*/ 1830 w 1874"/>
                <a:gd name="T87" fmla="*/ 1262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74" h="1534">
                  <a:moveTo>
                    <a:pt x="1327" y="1534"/>
                  </a:moveTo>
                  <a:cubicBezTo>
                    <a:pt x="547" y="1534"/>
                    <a:pt x="547" y="1534"/>
                    <a:pt x="547" y="1534"/>
                  </a:cubicBezTo>
                  <a:cubicBezTo>
                    <a:pt x="535" y="1534"/>
                    <a:pt x="525" y="1524"/>
                    <a:pt x="525" y="1512"/>
                  </a:cubicBezTo>
                  <a:cubicBezTo>
                    <a:pt x="525" y="1436"/>
                    <a:pt x="525" y="1436"/>
                    <a:pt x="525" y="1436"/>
                  </a:cubicBezTo>
                  <a:cubicBezTo>
                    <a:pt x="525" y="1424"/>
                    <a:pt x="535" y="1414"/>
                    <a:pt x="547" y="1414"/>
                  </a:cubicBezTo>
                  <a:cubicBezTo>
                    <a:pt x="753" y="1414"/>
                    <a:pt x="753" y="1414"/>
                    <a:pt x="753" y="1414"/>
                  </a:cubicBezTo>
                  <a:cubicBezTo>
                    <a:pt x="753" y="1366"/>
                    <a:pt x="753" y="1366"/>
                    <a:pt x="753" y="1366"/>
                  </a:cubicBezTo>
                  <a:cubicBezTo>
                    <a:pt x="753" y="1354"/>
                    <a:pt x="763" y="1344"/>
                    <a:pt x="775" y="1344"/>
                  </a:cubicBezTo>
                  <a:cubicBezTo>
                    <a:pt x="787" y="1344"/>
                    <a:pt x="797" y="1354"/>
                    <a:pt x="797" y="1366"/>
                  </a:cubicBezTo>
                  <a:cubicBezTo>
                    <a:pt x="797" y="1436"/>
                    <a:pt x="797" y="1436"/>
                    <a:pt x="797" y="1436"/>
                  </a:cubicBezTo>
                  <a:cubicBezTo>
                    <a:pt x="797" y="1448"/>
                    <a:pt x="787" y="1458"/>
                    <a:pt x="775" y="1458"/>
                  </a:cubicBezTo>
                  <a:cubicBezTo>
                    <a:pt x="569" y="1458"/>
                    <a:pt x="569" y="1458"/>
                    <a:pt x="569" y="1458"/>
                  </a:cubicBezTo>
                  <a:cubicBezTo>
                    <a:pt x="569" y="1490"/>
                    <a:pt x="569" y="1490"/>
                    <a:pt x="569" y="1490"/>
                  </a:cubicBezTo>
                  <a:cubicBezTo>
                    <a:pt x="1305" y="1490"/>
                    <a:pt x="1305" y="1490"/>
                    <a:pt x="1305" y="1490"/>
                  </a:cubicBezTo>
                  <a:cubicBezTo>
                    <a:pt x="1305" y="1458"/>
                    <a:pt x="1305" y="1458"/>
                    <a:pt x="1305" y="1458"/>
                  </a:cubicBezTo>
                  <a:cubicBezTo>
                    <a:pt x="1101" y="1458"/>
                    <a:pt x="1101" y="1458"/>
                    <a:pt x="1101" y="1458"/>
                  </a:cubicBezTo>
                  <a:cubicBezTo>
                    <a:pt x="1089" y="1458"/>
                    <a:pt x="1079" y="1448"/>
                    <a:pt x="1079" y="1436"/>
                  </a:cubicBezTo>
                  <a:cubicBezTo>
                    <a:pt x="1079" y="1366"/>
                    <a:pt x="1079" y="1366"/>
                    <a:pt x="1079" y="1366"/>
                  </a:cubicBezTo>
                  <a:cubicBezTo>
                    <a:pt x="1079" y="1354"/>
                    <a:pt x="1089" y="1344"/>
                    <a:pt x="1101" y="1344"/>
                  </a:cubicBezTo>
                  <a:cubicBezTo>
                    <a:pt x="1114" y="1344"/>
                    <a:pt x="1123" y="1354"/>
                    <a:pt x="1123" y="1366"/>
                  </a:cubicBezTo>
                  <a:cubicBezTo>
                    <a:pt x="1123" y="1414"/>
                    <a:pt x="1123" y="1414"/>
                    <a:pt x="1123" y="1414"/>
                  </a:cubicBezTo>
                  <a:cubicBezTo>
                    <a:pt x="1327" y="1414"/>
                    <a:pt x="1327" y="1414"/>
                    <a:pt x="1327" y="1414"/>
                  </a:cubicBezTo>
                  <a:cubicBezTo>
                    <a:pt x="1339" y="1414"/>
                    <a:pt x="1349" y="1424"/>
                    <a:pt x="1349" y="1436"/>
                  </a:cubicBezTo>
                  <a:cubicBezTo>
                    <a:pt x="1349" y="1512"/>
                    <a:pt x="1349" y="1512"/>
                    <a:pt x="1349" y="1512"/>
                  </a:cubicBezTo>
                  <a:cubicBezTo>
                    <a:pt x="1349" y="1524"/>
                    <a:pt x="1339" y="1534"/>
                    <a:pt x="1327" y="1534"/>
                  </a:cubicBezTo>
                  <a:close/>
                  <a:moveTo>
                    <a:pt x="1874" y="22"/>
                  </a:moveTo>
                  <a:cubicBezTo>
                    <a:pt x="1874" y="1284"/>
                    <a:pt x="1874" y="1284"/>
                    <a:pt x="1874" y="1284"/>
                  </a:cubicBezTo>
                  <a:cubicBezTo>
                    <a:pt x="1874" y="1296"/>
                    <a:pt x="1864" y="1306"/>
                    <a:pt x="1852" y="1306"/>
                  </a:cubicBezTo>
                  <a:cubicBezTo>
                    <a:pt x="22" y="1306"/>
                    <a:pt x="22" y="1306"/>
                    <a:pt x="22" y="1306"/>
                  </a:cubicBezTo>
                  <a:cubicBezTo>
                    <a:pt x="10" y="1306"/>
                    <a:pt x="0" y="1296"/>
                    <a:pt x="0" y="1284"/>
                  </a:cubicBezTo>
                  <a:cubicBezTo>
                    <a:pt x="0" y="22"/>
                    <a:pt x="0" y="22"/>
                    <a:pt x="0" y="22"/>
                  </a:cubicBezTo>
                  <a:cubicBezTo>
                    <a:pt x="0" y="10"/>
                    <a:pt x="10" y="0"/>
                    <a:pt x="22" y="0"/>
                  </a:cubicBezTo>
                  <a:cubicBezTo>
                    <a:pt x="1852" y="0"/>
                    <a:pt x="1852" y="0"/>
                    <a:pt x="1852" y="0"/>
                  </a:cubicBezTo>
                  <a:cubicBezTo>
                    <a:pt x="1864" y="0"/>
                    <a:pt x="1874" y="10"/>
                    <a:pt x="1874" y="22"/>
                  </a:cubicBezTo>
                  <a:close/>
                  <a:moveTo>
                    <a:pt x="44" y="44"/>
                  </a:moveTo>
                  <a:cubicBezTo>
                    <a:pt x="44" y="1091"/>
                    <a:pt x="44" y="1091"/>
                    <a:pt x="44" y="1091"/>
                  </a:cubicBezTo>
                  <a:cubicBezTo>
                    <a:pt x="1830" y="1091"/>
                    <a:pt x="1830" y="1091"/>
                    <a:pt x="1830" y="1091"/>
                  </a:cubicBezTo>
                  <a:cubicBezTo>
                    <a:pt x="1830" y="44"/>
                    <a:pt x="1830" y="44"/>
                    <a:pt x="1830" y="44"/>
                  </a:cubicBezTo>
                  <a:lnTo>
                    <a:pt x="44" y="44"/>
                  </a:lnTo>
                  <a:close/>
                  <a:moveTo>
                    <a:pt x="1830" y="1262"/>
                  </a:moveTo>
                  <a:cubicBezTo>
                    <a:pt x="1830" y="1135"/>
                    <a:pt x="1830" y="1135"/>
                    <a:pt x="1830" y="1135"/>
                  </a:cubicBezTo>
                  <a:cubicBezTo>
                    <a:pt x="44" y="1135"/>
                    <a:pt x="44" y="1135"/>
                    <a:pt x="44" y="1135"/>
                  </a:cubicBezTo>
                  <a:cubicBezTo>
                    <a:pt x="44" y="1262"/>
                    <a:pt x="44" y="1262"/>
                    <a:pt x="44" y="1262"/>
                  </a:cubicBezTo>
                  <a:lnTo>
                    <a:pt x="1830" y="12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1">
              <a:extLst>
                <a:ext uri="{FF2B5EF4-FFF2-40B4-BE49-F238E27FC236}">
                  <a16:creationId xmlns:a16="http://schemas.microsoft.com/office/drawing/2014/main" id="{6D655082-6ED0-2F4E-A6FA-21BAF443387F}"/>
                </a:ext>
              </a:extLst>
            </p:cNvPr>
            <p:cNvSpPr>
              <a:spLocks noEditPoints="1"/>
            </p:cNvSpPr>
            <p:nvPr/>
          </p:nvSpPr>
          <p:spPr bwMode="auto">
            <a:xfrm>
              <a:off x="2261" y="906"/>
              <a:ext cx="3158" cy="2148"/>
            </a:xfrm>
            <a:custGeom>
              <a:avLst/>
              <a:gdLst>
                <a:gd name="T0" fmla="*/ 799 w 1686"/>
                <a:gd name="T1" fmla="*/ 1102 h 1146"/>
                <a:gd name="T2" fmla="*/ 843 w 1686"/>
                <a:gd name="T3" fmla="*/ 1057 h 1146"/>
                <a:gd name="T4" fmla="*/ 887 w 1686"/>
                <a:gd name="T5" fmla="*/ 1102 h 1146"/>
                <a:gd name="T6" fmla="*/ 843 w 1686"/>
                <a:gd name="T7" fmla="*/ 1146 h 1146"/>
                <a:gd name="T8" fmla="*/ 799 w 1686"/>
                <a:gd name="T9" fmla="*/ 1102 h 1146"/>
                <a:gd name="T10" fmla="*/ 327 w 1686"/>
                <a:gd name="T11" fmla="*/ 518 h 1146"/>
                <a:gd name="T12" fmla="*/ 325 w 1686"/>
                <a:gd name="T13" fmla="*/ 518 h 1146"/>
                <a:gd name="T14" fmla="*/ 303 w 1686"/>
                <a:gd name="T15" fmla="*/ 505 h 1146"/>
                <a:gd name="T16" fmla="*/ 254 w 1686"/>
                <a:gd name="T17" fmla="*/ 436 h 1146"/>
                <a:gd name="T18" fmla="*/ 261 w 1686"/>
                <a:gd name="T19" fmla="*/ 394 h 1146"/>
                <a:gd name="T20" fmla="*/ 303 w 1686"/>
                <a:gd name="T21" fmla="*/ 401 h 1146"/>
                <a:gd name="T22" fmla="*/ 330 w 1686"/>
                <a:gd name="T23" fmla="*/ 440 h 1146"/>
                <a:gd name="T24" fmla="*/ 415 w 1686"/>
                <a:gd name="T25" fmla="*/ 347 h 1146"/>
                <a:gd name="T26" fmla="*/ 215 w 1686"/>
                <a:gd name="T27" fmla="*/ 347 h 1146"/>
                <a:gd name="T28" fmla="*/ 215 w 1686"/>
                <a:gd name="T29" fmla="*/ 574 h 1146"/>
                <a:gd name="T30" fmla="*/ 441 w 1686"/>
                <a:gd name="T31" fmla="*/ 574 h 1146"/>
                <a:gd name="T32" fmla="*/ 441 w 1686"/>
                <a:gd name="T33" fmla="*/ 407 h 1146"/>
                <a:gd name="T34" fmla="*/ 350 w 1686"/>
                <a:gd name="T35" fmla="*/ 508 h 1146"/>
                <a:gd name="T36" fmla="*/ 327 w 1686"/>
                <a:gd name="T37" fmla="*/ 518 h 1146"/>
                <a:gd name="T38" fmla="*/ 1686 w 1686"/>
                <a:gd name="T39" fmla="*/ 10 h 1146"/>
                <a:gd name="T40" fmla="*/ 1686 w 1686"/>
                <a:gd name="T41" fmla="*/ 926 h 1146"/>
                <a:gd name="T42" fmla="*/ 1676 w 1686"/>
                <a:gd name="T43" fmla="*/ 936 h 1146"/>
                <a:gd name="T44" fmla="*/ 10 w 1686"/>
                <a:gd name="T45" fmla="*/ 936 h 1146"/>
                <a:gd name="T46" fmla="*/ 0 w 1686"/>
                <a:gd name="T47" fmla="*/ 926 h 1146"/>
                <a:gd name="T48" fmla="*/ 0 w 1686"/>
                <a:gd name="T49" fmla="*/ 10 h 1146"/>
                <a:gd name="T50" fmla="*/ 10 w 1686"/>
                <a:gd name="T51" fmla="*/ 0 h 1146"/>
                <a:gd name="T52" fmla="*/ 1676 w 1686"/>
                <a:gd name="T53" fmla="*/ 0 h 1146"/>
                <a:gd name="T54" fmla="*/ 1686 w 1686"/>
                <a:gd name="T55" fmla="*/ 10 h 1146"/>
                <a:gd name="T56" fmla="*/ 555 w 1686"/>
                <a:gd name="T57" fmla="*/ 238 h 1146"/>
                <a:gd name="T58" fmla="*/ 512 w 1686"/>
                <a:gd name="T59" fmla="*/ 240 h 1146"/>
                <a:gd name="T60" fmla="*/ 469 w 1686"/>
                <a:gd name="T61" fmla="*/ 287 h 1146"/>
                <a:gd name="T62" fmla="*/ 185 w 1686"/>
                <a:gd name="T63" fmla="*/ 287 h 1146"/>
                <a:gd name="T64" fmla="*/ 155 w 1686"/>
                <a:gd name="T65" fmla="*/ 317 h 1146"/>
                <a:gd name="T66" fmla="*/ 155 w 1686"/>
                <a:gd name="T67" fmla="*/ 604 h 1146"/>
                <a:gd name="T68" fmla="*/ 185 w 1686"/>
                <a:gd name="T69" fmla="*/ 634 h 1146"/>
                <a:gd name="T70" fmla="*/ 471 w 1686"/>
                <a:gd name="T71" fmla="*/ 634 h 1146"/>
                <a:gd name="T72" fmla="*/ 501 w 1686"/>
                <a:gd name="T73" fmla="*/ 604 h 1146"/>
                <a:gd name="T74" fmla="*/ 501 w 1686"/>
                <a:gd name="T75" fmla="*/ 341 h 1146"/>
                <a:gd name="T76" fmla="*/ 557 w 1686"/>
                <a:gd name="T77" fmla="*/ 280 h 1146"/>
                <a:gd name="T78" fmla="*/ 555 w 1686"/>
                <a:gd name="T79" fmla="*/ 238 h 1146"/>
                <a:gd name="T80" fmla="*/ 1531 w 1686"/>
                <a:gd name="T81" fmla="*/ 562 h 1146"/>
                <a:gd name="T82" fmla="*/ 1501 w 1686"/>
                <a:gd name="T83" fmla="*/ 532 h 1146"/>
                <a:gd name="T84" fmla="*/ 691 w 1686"/>
                <a:gd name="T85" fmla="*/ 532 h 1146"/>
                <a:gd name="T86" fmla="*/ 661 w 1686"/>
                <a:gd name="T87" fmla="*/ 562 h 1146"/>
                <a:gd name="T88" fmla="*/ 691 w 1686"/>
                <a:gd name="T89" fmla="*/ 592 h 1146"/>
                <a:gd name="T90" fmla="*/ 1501 w 1686"/>
                <a:gd name="T91" fmla="*/ 592 h 1146"/>
                <a:gd name="T92" fmla="*/ 1531 w 1686"/>
                <a:gd name="T93" fmla="*/ 562 h 1146"/>
                <a:gd name="T94" fmla="*/ 1531 w 1686"/>
                <a:gd name="T95" fmla="*/ 358 h 1146"/>
                <a:gd name="T96" fmla="*/ 1501 w 1686"/>
                <a:gd name="T97" fmla="*/ 328 h 1146"/>
                <a:gd name="T98" fmla="*/ 691 w 1686"/>
                <a:gd name="T99" fmla="*/ 328 h 1146"/>
                <a:gd name="T100" fmla="*/ 661 w 1686"/>
                <a:gd name="T101" fmla="*/ 358 h 1146"/>
                <a:gd name="T102" fmla="*/ 691 w 1686"/>
                <a:gd name="T103" fmla="*/ 388 h 1146"/>
                <a:gd name="T104" fmla="*/ 1501 w 1686"/>
                <a:gd name="T105" fmla="*/ 388 h 1146"/>
                <a:gd name="T106" fmla="*/ 1531 w 1686"/>
                <a:gd name="T107" fmla="*/ 358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6" h="1146">
                  <a:moveTo>
                    <a:pt x="799" y="1102"/>
                  </a:moveTo>
                  <a:cubicBezTo>
                    <a:pt x="799" y="1077"/>
                    <a:pt x="818" y="1057"/>
                    <a:pt x="843" y="1057"/>
                  </a:cubicBezTo>
                  <a:cubicBezTo>
                    <a:pt x="868" y="1057"/>
                    <a:pt x="887" y="1077"/>
                    <a:pt x="887" y="1102"/>
                  </a:cubicBezTo>
                  <a:cubicBezTo>
                    <a:pt x="887" y="1126"/>
                    <a:pt x="868" y="1146"/>
                    <a:pt x="843" y="1146"/>
                  </a:cubicBezTo>
                  <a:cubicBezTo>
                    <a:pt x="818" y="1146"/>
                    <a:pt x="799" y="1126"/>
                    <a:pt x="799" y="1102"/>
                  </a:cubicBezTo>
                  <a:close/>
                  <a:moveTo>
                    <a:pt x="327" y="518"/>
                  </a:moveTo>
                  <a:cubicBezTo>
                    <a:pt x="327" y="518"/>
                    <a:pt x="326" y="518"/>
                    <a:pt x="325" y="518"/>
                  </a:cubicBezTo>
                  <a:cubicBezTo>
                    <a:pt x="316" y="517"/>
                    <a:pt x="308" y="513"/>
                    <a:pt x="303" y="505"/>
                  </a:cubicBezTo>
                  <a:cubicBezTo>
                    <a:pt x="254" y="436"/>
                    <a:pt x="254" y="436"/>
                    <a:pt x="254" y="436"/>
                  </a:cubicBezTo>
                  <a:cubicBezTo>
                    <a:pt x="245" y="422"/>
                    <a:pt x="248" y="404"/>
                    <a:pt x="261" y="394"/>
                  </a:cubicBezTo>
                  <a:cubicBezTo>
                    <a:pt x="275" y="385"/>
                    <a:pt x="294" y="388"/>
                    <a:pt x="303" y="401"/>
                  </a:cubicBezTo>
                  <a:cubicBezTo>
                    <a:pt x="330" y="440"/>
                    <a:pt x="330" y="440"/>
                    <a:pt x="330" y="440"/>
                  </a:cubicBezTo>
                  <a:cubicBezTo>
                    <a:pt x="415" y="347"/>
                    <a:pt x="415" y="347"/>
                    <a:pt x="415" y="347"/>
                  </a:cubicBezTo>
                  <a:cubicBezTo>
                    <a:pt x="215" y="347"/>
                    <a:pt x="215" y="347"/>
                    <a:pt x="215" y="347"/>
                  </a:cubicBezTo>
                  <a:cubicBezTo>
                    <a:pt x="215" y="574"/>
                    <a:pt x="215" y="574"/>
                    <a:pt x="215" y="574"/>
                  </a:cubicBezTo>
                  <a:cubicBezTo>
                    <a:pt x="441" y="574"/>
                    <a:pt x="441" y="574"/>
                    <a:pt x="441" y="574"/>
                  </a:cubicBezTo>
                  <a:cubicBezTo>
                    <a:pt x="441" y="407"/>
                    <a:pt x="441" y="407"/>
                    <a:pt x="441" y="407"/>
                  </a:cubicBezTo>
                  <a:cubicBezTo>
                    <a:pt x="350" y="508"/>
                    <a:pt x="350" y="508"/>
                    <a:pt x="350" y="508"/>
                  </a:cubicBezTo>
                  <a:cubicBezTo>
                    <a:pt x="344" y="514"/>
                    <a:pt x="336" y="518"/>
                    <a:pt x="327" y="518"/>
                  </a:cubicBezTo>
                  <a:close/>
                  <a:moveTo>
                    <a:pt x="1686" y="10"/>
                  </a:moveTo>
                  <a:cubicBezTo>
                    <a:pt x="1686" y="926"/>
                    <a:pt x="1686" y="926"/>
                    <a:pt x="1686" y="926"/>
                  </a:cubicBezTo>
                  <a:cubicBezTo>
                    <a:pt x="1686" y="932"/>
                    <a:pt x="1681" y="936"/>
                    <a:pt x="1676" y="936"/>
                  </a:cubicBezTo>
                  <a:cubicBezTo>
                    <a:pt x="10" y="936"/>
                    <a:pt x="10" y="936"/>
                    <a:pt x="10" y="936"/>
                  </a:cubicBezTo>
                  <a:cubicBezTo>
                    <a:pt x="5" y="936"/>
                    <a:pt x="0" y="932"/>
                    <a:pt x="0" y="926"/>
                  </a:cubicBezTo>
                  <a:cubicBezTo>
                    <a:pt x="0" y="10"/>
                    <a:pt x="0" y="10"/>
                    <a:pt x="0" y="10"/>
                  </a:cubicBezTo>
                  <a:cubicBezTo>
                    <a:pt x="0" y="4"/>
                    <a:pt x="5" y="0"/>
                    <a:pt x="10" y="0"/>
                  </a:cubicBezTo>
                  <a:cubicBezTo>
                    <a:pt x="1676" y="0"/>
                    <a:pt x="1676" y="0"/>
                    <a:pt x="1676" y="0"/>
                  </a:cubicBezTo>
                  <a:cubicBezTo>
                    <a:pt x="1681" y="0"/>
                    <a:pt x="1686" y="4"/>
                    <a:pt x="1686" y="10"/>
                  </a:cubicBezTo>
                  <a:close/>
                  <a:moveTo>
                    <a:pt x="555" y="238"/>
                  </a:moveTo>
                  <a:cubicBezTo>
                    <a:pt x="543" y="227"/>
                    <a:pt x="524" y="228"/>
                    <a:pt x="512" y="240"/>
                  </a:cubicBezTo>
                  <a:cubicBezTo>
                    <a:pt x="469" y="287"/>
                    <a:pt x="469" y="287"/>
                    <a:pt x="469" y="287"/>
                  </a:cubicBezTo>
                  <a:cubicBezTo>
                    <a:pt x="185" y="287"/>
                    <a:pt x="185" y="287"/>
                    <a:pt x="185" y="287"/>
                  </a:cubicBezTo>
                  <a:cubicBezTo>
                    <a:pt x="168" y="287"/>
                    <a:pt x="155" y="301"/>
                    <a:pt x="155" y="317"/>
                  </a:cubicBezTo>
                  <a:cubicBezTo>
                    <a:pt x="155" y="604"/>
                    <a:pt x="155" y="604"/>
                    <a:pt x="155" y="604"/>
                  </a:cubicBezTo>
                  <a:cubicBezTo>
                    <a:pt x="155" y="620"/>
                    <a:pt x="168" y="634"/>
                    <a:pt x="185" y="634"/>
                  </a:cubicBezTo>
                  <a:cubicBezTo>
                    <a:pt x="471" y="634"/>
                    <a:pt x="471" y="634"/>
                    <a:pt x="471" y="634"/>
                  </a:cubicBezTo>
                  <a:cubicBezTo>
                    <a:pt x="488" y="634"/>
                    <a:pt x="501" y="620"/>
                    <a:pt x="501" y="604"/>
                  </a:cubicBezTo>
                  <a:cubicBezTo>
                    <a:pt x="501" y="341"/>
                    <a:pt x="501" y="341"/>
                    <a:pt x="501" y="341"/>
                  </a:cubicBezTo>
                  <a:cubicBezTo>
                    <a:pt x="557" y="280"/>
                    <a:pt x="557" y="280"/>
                    <a:pt x="557" y="280"/>
                  </a:cubicBezTo>
                  <a:cubicBezTo>
                    <a:pt x="568" y="268"/>
                    <a:pt x="567" y="249"/>
                    <a:pt x="555" y="238"/>
                  </a:cubicBezTo>
                  <a:close/>
                  <a:moveTo>
                    <a:pt x="1531" y="562"/>
                  </a:moveTo>
                  <a:cubicBezTo>
                    <a:pt x="1531" y="545"/>
                    <a:pt x="1518" y="532"/>
                    <a:pt x="1501" y="532"/>
                  </a:cubicBezTo>
                  <a:cubicBezTo>
                    <a:pt x="691" y="532"/>
                    <a:pt x="691" y="532"/>
                    <a:pt x="691" y="532"/>
                  </a:cubicBezTo>
                  <a:cubicBezTo>
                    <a:pt x="674" y="532"/>
                    <a:pt x="661" y="545"/>
                    <a:pt x="661" y="562"/>
                  </a:cubicBezTo>
                  <a:cubicBezTo>
                    <a:pt x="661" y="579"/>
                    <a:pt x="674" y="592"/>
                    <a:pt x="691" y="592"/>
                  </a:cubicBezTo>
                  <a:cubicBezTo>
                    <a:pt x="1501" y="592"/>
                    <a:pt x="1501" y="592"/>
                    <a:pt x="1501" y="592"/>
                  </a:cubicBezTo>
                  <a:cubicBezTo>
                    <a:pt x="1518" y="592"/>
                    <a:pt x="1531" y="579"/>
                    <a:pt x="1531" y="562"/>
                  </a:cubicBezTo>
                  <a:close/>
                  <a:moveTo>
                    <a:pt x="1531" y="358"/>
                  </a:moveTo>
                  <a:cubicBezTo>
                    <a:pt x="1531" y="341"/>
                    <a:pt x="1518" y="328"/>
                    <a:pt x="1501" y="328"/>
                  </a:cubicBezTo>
                  <a:cubicBezTo>
                    <a:pt x="691" y="328"/>
                    <a:pt x="691" y="328"/>
                    <a:pt x="691" y="328"/>
                  </a:cubicBezTo>
                  <a:cubicBezTo>
                    <a:pt x="674" y="328"/>
                    <a:pt x="661" y="341"/>
                    <a:pt x="661" y="358"/>
                  </a:cubicBezTo>
                  <a:cubicBezTo>
                    <a:pt x="661" y="375"/>
                    <a:pt x="674" y="388"/>
                    <a:pt x="691" y="388"/>
                  </a:cubicBezTo>
                  <a:cubicBezTo>
                    <a:pt x="1501" y="388"/>
                    <a:pt x="1501" y="388"/>
                    <a:pt x="1501" y="388"/>
                  </a:cubicBezTo>
                  <a:cubicBezTo>
                    <a:pt x="1518" y="388"/>
                    <a:pt x="1531" y="375"/>
                    <a:pt x="1531" y="3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 name="Group 30"/>
          <p:cNvGrpSpPr>
            <a:grpSpLocks noChangeAspect="1"/>
          </p:cNvGrpSpPr>
          <p:nvPr/>
        </p:nvGrpSpPr>
        <p:grpSpPr>
          <a:xfrm>
            <a:off x="6156748" y="1685451"/>
            <a:ext cx="982931" cy="983842"/>
            <a:chOff x="5273801" y="2606040"/>
            <a:chExt cx="1644396" cy="1645920"/>
          </a:xfrm>
        </p:grpSpPr>
        <p:sp>
          <p:nvSpPr>
            <p:cNvPr id="32"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nvGrpSpPr>
            <p:cNvPr id="33" name="Group 32"/>
            <p:cNvGrpSpPr/>
            <p:nvPr/>
          </p:nvGrpSpPr>
          <p:grpSpPr>
            <a:xfrm>
              <a:off x="5343905" y="2928366"/>
              <a:ext cx="1505712" cy="995553"/>
              <a:chOff x="5343905" y="2928366"/>
              <a:chExt cx="1505712" cy="995553"/>
            </a:xfrm>
          </p:grpSpPr>
          <p:sp>
            <p:nvSpPr>
              <p:cNvPr id="34"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grpSp>
        <p:nvGrpSpPr>
          <p:cNvPr id="36" name="Group 4">
            <a:extLst>
              <a:ext uri="{FF2B5EF4-FFF2-40B4-BE49-F238E27FC236}">
                <a16:creationId xmlns:a16="http://schemas.microsoft.com/office/drawing/2014/main" id="{D6C12AAB-D105-4EC5-9A47-2134E872B7FF}"/>
              </a:ext>
            </a:extLst>
          </p:cNvPr>
          <p:cNvGrpSpPr>
            <a:grpSpLocks noChangeAspect="1"/>
          </p:cNvGrpSpPr>
          <p:nvPr/>
        </p:nvGrpSpPr>
        <p:grpSpPr bwMode="auto">
          <a:xfrm>
            <a:off x="6156748" y="3736127"/>
            <a:ext cx="982931" cy="983842"/>
            <a:chOff x="1682" y="0"/>
            <a:chExt cx="4316" cy="4320"/>
          </a:xfrm>
        </p:grpSpPr>
        <p:sp>
          <p:nvSpPr>
            <p:cNvPr id="37" name="AutoShape 3">
              <a:extLst>
                <a:ext uri="{FF2B5EF4-FFF2-40B4-BE49-F238E27FC236}">
                  <a16:creationId xmlns:a16="http://schemas.microsoft.com/office/drawing/2014/main" id="{51AB70BB-B397-4914-B4EC-EC98744768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5">
              <a:extLst>
                <a:ext uri="{FF2B5EF4-FFF2-40B4-BE49-F238E27FC236}">
                  <a16:creationId xmlns:a16="http://schemas.microsoft.com/office/drawing/2014/main" id="{F41393EF-553B-41C2-9334-38C321D5FBE5}"/>
                </a:ext>
              </a:extLst>
            </p:cNvPr>
            <p:cNvSpPr>
              <a:spLocks/>
            </p:cNvSpPr>
            <p:nvPr/>
          </p:nvSpPr>
          <p:spPr bwMode="auto">
            <a:xfrm>
              <a:off x="2029" y="1108"/>
              <a:ext cx="2609" cy="1329"/>
            </a:xfrm>
            <a:custGeom>
              <a:avLst/>
              <a:gdLst>
                <a:gd name="T0" fmla="*/ 1152 w 1393"/>
                <a:gd name="T1" fmla="*/ 709 h 709"/>
                <a:gd name="T2" fmla="*/ 10 w 1393"/>
                <a:gd name="T3" fmla="*/ 709 h 709"/>
                <a:gd name="T4" fmla="*/ 0 w 1393"/>
                <a:gd name="T5" fmla="*/ 699 h 709"/>
                <a:gd name="T6" fmla="*/ 0 w 1393"/>
                <a:gd name="T7" fmla="*/ 10 h 709"/>
                <a:gd name="T8" fmla="*/ 10 w 1393"/>
                <a:gd name="T9" fmla="*/ 0 h 709"/>
                <a:gd name="T10" fmla="*/ 1383 w 1393"/>
                <a:gd name="T11" fmla="*/ 0 h 709"/>
                <a:gd name="T12" fmla="*/ 1393 w 1393"/>
                <a:gd name="T13" fmla="*/ 10 h 709"/>
                <a:gd name="T14" fmla="*/ 1393 w 1393"/>
                <a:gd name="T15" fmla="*/ 17 h 709"/>
                <a:gd name="T16" fmla="*/ 1174 w 1393"/>
                <a:gd name="T17" fmla="*/ 124 h 709"/>
                <a:gd name="T18" fmla="*/ 1068 w 1393"/>
                <a:gd name="T19" fmla="*/ 388 h 709"/>
                <a:gd name="T20" fmla="*/ 1082 w 1393"/>
                <a:gd name="T21" fmla="*/ 517 h 709"/>
                <a:gd name="T22" fmla="*/ 1078 w 1393"/>
                <a:gd name="T23" fmla="*/ 535 h 709"/>
                <a:gd name="T24" fmla="*/ 1133 w 1393"/>
                <a:gd name="T25" fmla="*/ 665 h 709"/>
                <a:gd name="T26" fmla="*/ 1152 w 1393"/>
                <a:gd name="T27"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3" h="709">
                  <a:moveTo>
                    <a:pt x="1152" y="709"/>
                  </a:moveTo>
                  <a:cubicBezTo>
                    <a:pt x="10" y="709"/>
                    <a:pt x="10" y="709"/>
                    <a:pt x="10" y="709"/>
                  </a:cubicBezTo>
                  <a:cubicBezTo>
                    <a:pt x="4" y="709"/>
                    <a:pt x="0" y="705"/>
                    <a:pt x="0" y="699"/>
                  </a:cubicBezTo>
                  <a:cubicBezTo>
                    <a:pt x="0" y="10"/>
                    <a:pt x="0" y="10"/>
                    <a:pt x="0" y="10"/>
                  </a:cubicBezTo>
                  <a:cubicBezTo>
                    <a:pt x="0" y="5"/>
                    <a:pt x="4" y="0"/>
                    <a:pt x="10" y="0"/>
                  </a:cubicBezTo>
                  <a:cubicBezTo>
                    <a:pt x="1383" y="0"/>
                    <a:pt x="1383" y="0"/>
                    <a:pt x="1383" y="0"/>
                  </a:cubicBezTo>
                  <a:cubicBezTo>
                    <a:pt x="1388" y="0"/>
                    <a:pt x="1393" y="5"/>
                    <a:pt x="1393" y="10"/>
                  </a:cubicBezTo>
                  <a:cubicBezTo>
                    <a:pt x="1393" y="17"/>
                    <a:pt x="1393" y="17"/>
                    <a:pt x="1393" y="17"/>
                  </a:cubicBezTo>
                  <a:cubicBezTo>
                    <a:pt x="1309" y="26"/>
                    <a:pt x="1233" y="64"/>
                    <a:pt x="1174" y="124"/>
                  </a:cubicBezTo>
                  <a:cubicBezTo>
                    <a:pt x="1106" y="194"/>
                    <a:pt x="1068" y="288"/>
                    <a:pt x="1068" y="388"/>
                  </a:cubicBezTo>
                  <a:cubicBezTo>
                    <a:pt x="1068" y="410"/>
                    <a:pt x="1070" y="473"/>
                    <a:pt x="1082" y="517"/>
                  </a:cubicBezTo>
                  <a:cubicBezTo>
                    <a:pt x="1080" y="523"/>
                    <a:pt x="1079" y="529"/>
                    <a:pt x="1078" y="535"/>
                  </a:cubicBezTo>
                  <a:cubicBezTo>
                    <a:pt x="1077" y="569"/>
                    <a:pt x="1089" y="630"/>
                    <a:pt x="1133" y="665"/>
                  </a:cubicBezTo>
                  <a:cubicBezTo>
                    <a:pt x="1140" y="681"/>
                    <a:pt x="1146" y="696"/>
                    <a:pt x="1152" y="70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6">
              <a:extLst>
                <a:ext uri="{FF2B5EF4-FFF2-40B4-BE49-F238E27FC236}">
                  <a16:creationId xmlns:a16="http://schemas.microsoft.com/office/drawing/2014/main" id="{6039178D-60C5-4E3B-8574-B8EB1C178708}"/>
                </a:ext>
              </a:extLst>
            </p:cNvPr>
            <p:cNvSpPr>
              <a:spLocks noEditPoints="1"/>
            </p:cNvSpPr>
            <p:nvPr/>
          </p:nvSpPr>
          <p:spPr bwMode="auto">
            <a:xfrm>
              <a:off x="1866" y="936"/>
              <a:ext cx="3922" cy="2478"/>
            </a:xfrm>
            <a:custGeom>
              <a:avLst/>
              <a:gdLst>
                <a:gd name="T0" fmla="*/ 1708 w 2094"/>
                <a:gd name="T1" fmla="*/ 1061 h 1322"/>
                <a:gd name="T2" fmla="*/ 2091 w 2094"/>
                <a:gd name="T3" fmla="*/ 1304 h 1322"/>
                <a:gd name="T4" fmla="*/ 969 w 2094"/>
                <a:gd name="T5" fmla="*/ 1322 h 1322"/>
                <a:gd name="T6" fmla="*/ 1094 w 2094"/>
                <a:gd name="T7" fmla="*/ 1103 h 1322"/>
                <a:gd name="T8" fmla="*/ 1339 w 2094"/>
                <a:gd name="T9" fmla="*/ 1061 h 1322"/>
                <a:gd name="T10" fmla="*/ 1527 w 2094"/>
                <a:gd name="T11" fmla="*/ 1209 h 1322"/>
                <a:gd name="T12" fmla="*/ 1784 w 2094"/>
                <a:gd name="T13" fmla="*/ 687 h 1322"/>
                <a:gd name="T14" fmla="*/ 1766 w 2094"/>
                <a:gd name="T15" fmla="*/ 685 h 1322"/>
                <a:gd name="T16" fmla="*/ 1746 w 2094"/>
                <a:gd name="T17" fmla="*/ 704 h 1322"/>
                <a:gd name="T18" fmla="*/ 1520 w 2094"/>
                <a:gd name="T19" fmla="*/ 961 h 1322"/>
                <a:gd name="T20" fmla="*/ 1294 w 2094"/>
                <a:gd name="T21" fmla="*/ 704 h 1322"/>
                <a:gd name="T22" fmla="*/ 1256 w 2094"/>
                <a:gd name="T23" fmla="*/ 654 h 1322"/>
                <a:gd name="T24" fmla="*/ 1212 w 2094"/>
                <a:gd name="T25" fmla="*/ 656 h 1322"/>
                <a:gd name="T26" fmla="*/ 1353 w 2094"/>
                <a:gd name="T27" fmla="*/ 924 h 1322"/>
                <a:gd name="T28" fmla="*/ 1368 w 2094"/>
                <a:gd name="T29" fmla="*/ 1023 h 1322"/>
                <a:gd name="T30" fmla="*/ 1409 w 2094"/>
                <a:gd name="T31" fmla="*/ 1057 h 1322"/>
                <a:gd name="T32" fmla="*/ 1412 w 2094"/>
                <a:gd name="T33" fmla="*/ 966 h 1322"/>
                <a:gd name="T34" fmla="*/ 1639 w 2094"/>
                <a:gd name="T35" fmla="*/ 958 h 1322"/>
                <a:gd name="T36" fmla="*/ 1678 w 2094"/>
                <a:gd name="T37" fmla="*/ 1024 h 1322"/>
                <a:gd name="T38" fmla="*/ 1683 w 2094"/>
                <a:gd name="T39" fmla="*/ 927 h 1322"/>
                <a:gd name="T40" fmla="*/ 1784 w 2094"/>
                <a:gd name="T41" fmla="*/ 727 h 1322"/>
                <a:gd name="T42" fmla="*/ 1784 w 2094"/>
                <a:gd name="T43" fmla="*/ 687 h 1322"/>
                <a:gd name="T44" fmla="*/ 1524 w 2094"/>
                <a:gd name="T45" fmla="*/ 157 h 1322"/>
                <a:gd name="T46" fmla="*/ 1224 w 2094"/>
                <a:gd name="T47" fmla="*/ 612 h 1322"/>
                <a:gd name="T48" fmla="*/ 1380 w 2094"/>
                <a:gd name="T49" fmla="*/ 410 h 1322"/>
                <a:gd name="T50" fmla="*/ 1864 w 2094"/>
                <a:gd name="T51" fmla="*/ 610 h 1322"/>
                <a:gd name="T52" fmla="*/ 1842 w 2094"/>
                <a:gd name="T53" fmla="*/ 480 h 1322"/>
                <a:gd name="T54" fmla="*/ 891 w 2094"/>
                <a:gd name="T55" fmla="*/ 922 h 1322"/>
                <a:gd name="T56" fmla="*/ 1281 w 2094"/>
                <a:gd name="T57" fmla="*/ 893 h 1322"/>
                <a:gd name="T58" fmla="*/ 869 w 2094"/>
                <a:gd name="T59" fmla="*/ 849 h 1322"/>
                <a:gd name="T60" fmla="*/ 847 w 2094"/>
                <a:gd name="T61" fmla="*/ 936 h 1322"/>
                <a:gd name="T62" fmla="*/ 904 w 2094"/>
                <a:gd name="T63" fmla="*/ 980 h 1322"/>
                <a:gd name="T64" fmla="*/ 708 w 2094"/>
                <a:gd name="T65" fmla="*/ 955 h 1322"/>
                <a:gd name="T66" fmla="*/ 720 w 2094"/>
                <a:gd name="T67" fmla="*/ 871 h 1322"/>
                <a:gd name="T68" fmla="*/ 44 w 2094"/>
                <a:gd name="T69" fmla="*/ 849 h 1322"/>
                <a:gd name="T70" fmla="*/ 1523 w 2094"/>
                <a:gd name="T71" fmla="*/ 44 h 1322"/>
                <a:gd name="T72" fmla="*/ 1524 w 2094"/>
                <a:gd name="T73" fmla="*/ 106 h 1322"/>
                <a:gd name="T74" fmla="*/ 1567 w 2094"/>
                <a:gd name="T75" fmla="*/ 22 h 1322"/>
                <a:gd name="T76" fmla="*/ 22 w 2094"/>
                <a:gd name="T77" fmla="*/ 0 h 1322"/>
                <a:gd name="T78" fmla="*/ 0 w 2094"/>
                <a:gd name="T79" fmla="*/ 871 h 1322"/>
                <a:gd name="T80" fmla="*/ 676 w 2094"/>
                <a:gd name="T81" fmla="*/ 893 h 1322"/>
                <a:gd name="T82" fmla="*/ 566 w 2094"/>
                <a:gd name="T83" fmla="*/ 982 h 1322"/>
                <a:gd name="T84" fmla="*/ 577 w 2094"/>
                <a:gd name="T85" fmla="*/ 1024 h 1322"/>
                <a:gd name="T86" fmla="*/ 1011 w 2094"/>
                <a:gd name="T87" fmla="*/ 1007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94" h="1322">
                  <a:moveTo>
                    <a:pt x="1708" y="1061"/>
                  </a:moveTo>
                  <a:cubicBezTo>
                    <a:pt x="1708" y="1061"/>
                    <a:pt x="1708" y="1061"/>
                    <a:pt x="1708" y="1061"/>
                  </a:cubicBezTo>
                  <a:cubicBezTo>
                    <a:pt x="1708" y="1061"/>
                    <a:pt x="1867" y="1063"/>
                    <a:pt x="1953" y="1103"/>
                  </a:cubicBezTo>
                  <a:cubicBezTo>
                    <a:pt x="2023" y="1135"/>
                    <a:pt x="2074" y="1256"/>
                    <a:pt x="2091" y="1304"/>
                  </a:cubicBezTo>
                  <a:cubicBezTo>
                    <a:pt x="2094" y="1313"/>
                    <a:pt x="2088" y="1322"/>
                    <a:pt x="2078" y="1322"/>
                  </a:cubicBezTo>
                  <a:cubicBezTo>
                    <a:pt x="969" y="1322"/>
                    <a:pt x="969" y="1322"/>
                    <a:pt x="969" y="1322"/>
                  </a:cubicBezTo>
                  <a:cubicBezTo>
                    <a:pt x="959" y="1322"/>
                    <a:pt x="953" y="1313"/>
                    <a:pt x="956" y="1304"/>
                  </a:cubicBezTo>
                  <a:cubicBezTo>
                    <a:pt x="973" y="1256"/>
                    <a:pt x="1024" y="1135"/>
                    <a:pt x="1094" y="1103"/>
                  </a:cubicBezTo>
                  <a:cubicBezTo>
                    <a:pt x="1180" y="1063"/>
                    <a:pt x="1339" y="1061"/>
                    <a:pt x="1339" y="1061"/>
                  </a:cubicBezTo>
                  <a:cubicBezTo>
                    <a:pt x="1339" y="1061"/>
                    <a:pt x="1339" y="1061"/>
                    <a:pt x="1339" y="1061"/>
                  </a:cubicBezTo>
                  <a:cubicBezTo>
                    <a:pt x="1339" y="1061"/>
                    <a:pt x="1461" y="1163"/>
                    <a:pt x="1520" y="1209"/>
                  </a:cubicBezTo>
                  <a:cubicBezTo>
                    <a:pt x="1522" y="1211"/>
                    <a:pt x="1525" y="1211"/>
                    <a:pt x="1527" y="1209"/>
                  </a:cubicBezTo>
                  <a:cubicBezTo>
                    <a:pt x="1606" y="1146"/>
                    <a:pt x="1708" y="1061"/>
                    <a:pt x="1708" y="1061"/>
                  </a:cubicBezTo>
                  <a:close/>
                  <a:moveTo>
                    <a:pt x="1784" y="687"/>
                  </a:moveTo>
                  <a:cubicBezTo>
                    <a:pt x="1784" y="687"/>
                    <a:pt x="1784" y="687"/>
                    <a:pt x="1784" y="687"/>
                  </a:cubicBezTo>
                  <a:cubicBezTo>
                    <a:pt x="1778" y="687"/>
                    <a:pt x="1772" y="686"/>
                    <a:pt x="1766" y="685"/>
                  </a:cubicBezTo>
                  <a:cubicBezTo>
                    <a:pt x="1763" y="688"/>
                    <a:pt x="1760" y="690"/>
                    <a:pt x="1756" y="692"/>
                  </a:cubicBezTo>
                  <a:cubicBezTo>
                    <a:pt x="1752" y="694"/>
                    <a:pt x="1748" y="699"/>
                    <a:pt x="1746" y="704"/>
                  </a:cubicBezTo>
                  <a:cubicBezTo>
                    <a:pt x="1714" y="784"/>
                    <a:pt x="1672" y="878"/>
                    <a:pt x="1657" y="891"/>
                  </a:cubicBezTo>
                  <a:cubicBezTo>
                    <a:pt x="1631" y="915"/>
                    <a:pt x="1558" y="961"/>
                    <a:pt x="1520" y="961"/>
                  </a:cubicBezTo>
                  <a:cubicBezTo>
                    <a:pt x="1482" y="961"/>
                    <a:pt x="1409" y="915"/>
                    <a:pt x="1383" y="891"/>
                  </a:cubicBezTo>
                  <a:cubicBezTo>
                    <a:pt x="1368" y="878"/>
                    <a:pt x="1325" y="784"/>
                    <a:pt x="1294" y="704"/>
                  </a:cubicBezTo>
                  <a:cubicBezTo>
                    <a:pt x="1292" y="698"/>
                    <a:pt x="1287" y="693"/>
                    <a:pt x="1281" y="691"/>
                  </a:cubicBezTo>
                  <a:cubicBezTo>
                    <a:pt x="1268" y="686"/>
                    <a:pt x="1260" y="669"/>
                    <a:pt x="1256" y="654"/>
                  </a:cubicBezTo>
                  <a:cubicBezTo>
                    <a:pt x="1249" y="657"/>
                    <a:pt x="1241" y="660"/>
                    <a:pt x="1231" y="660"/>
                  </a:cubicBezTo>
                  <a:cubicBezTo>
                    <a:pt x="1226" y="660"/>
                    <a:pt x="1219" y="659"/>
                    <a:pt x="1212" y="656"/>
                  </a:cubicBezTo>
                  <a:cubicBezTo>
                    <a:pt x="1216" y="681"/>
                    <a:pt x="1229" y="713"/>
                    <a:pt x="1256" y="728"/>
                  </a:cubicBezTo>
                  <a:cubicBezTo>
                    <a:pt x="1276" y="777"/>
                    <a:pt x="1326" y="900"/>
                    <a:pt x="1353" y="924"/>
                  </a:cubicBezTo>
                  <a:cubicBezTo>
                    <a:pt x="1357" y="927"/>
                    <a:pt x="1362" y="932"/>
                    <a:pt x="1368" y="936"/>
                  </a:cubicBezTo>
                  <a:cubicBezTo>
                    <a:pt x="1368" y="1023"/>
                    <a:pt x="1368" y="1023"/>
                    <a:pt x="1368" y="1023"/>
                  </a:cubicBezTo>
                  <a:cubicBezTo>
                    <a:pt x="1369" y="1024"/>
                    <a:pt x="1369" y="1024"/>
                    <a:pt x="1369" y="1024"/>
                  </a:cubicBezTo>
                  <a:cubicBezTo>
                    <a:pt x="1370" y="1025"/>
                    <a:pt x="1386" y="1038"/>
                    <a:pt x="1409" y="1057"/>
                  </a:cubicBezTo>
                  <a:cubicBezTo>
                    <a:pt x="1412" y="1057"/>
                    <a:pt x="1412" y="1057"/>
                    <a:pt x="1412" y="1057"/>
                  </a:cubicBezTo>
                  <a:cubicBezTo>
                    <a:pt x="1412" y="966"/>
                    <a:pt x="1412" y="966"/>
                    <a:pt x="1412" y="966"/>
                  </a:cubicBezTo>
                  <a:cubicBezTo>
                    <a:pt x="1446" y="986"/>
                    <a:pt x="1487" y="1005"/>
                    <a:pt x="1520" y="1005"/>
                  </a:cubicBezTo>
                  <a:cubicBezTo>
                    <a:pt x="1556" y="1005"/>
                    <a:pt x="1603" y="981"/>
                    <a:pt x="1639" y="958"/>
                  </a:cubicBezTo>
                  <a:cubicBezTo>
                    <a:pt x="1639" y="1056"/>
                    <a:pt x="1639" y="1056"/>
                    <a:pt x="1639" y="1056"/>
                  </a:cubicBezTo>
                  <a:cubicBezTo>
                    <a:pt x="1662" y="1037"/>
                    <a:pt x="1677" y="1025"/>
                    <a:pt x="1678" y="1024"/>
                  </a:cubicBezTo>
                  <a:cubicBezTo>
                    <a:pt x="1683" y="1020"/>
                    <a:pt x="1683" y="1020"/>
                    <a:pt x="1683" y="1020"/>
                  </a:cubicBezTo>
                  <a:cubicBezTo>
                    <a:pt x="1683" y="927"/>
                    <a:pt x="1683" y="927"/>
                    <a:pt x="1683" y="927"/>
                  </a:cubicBezTo>
                  <a:cubicBezTo>
                    <a:pt x="1684" y="926"/>
                    <a:pt x="1685" y="925"/>
                    <a:pt x="1686" y="924"/>
                  </a:cubicBezTo>
                  <a:cubicBezTo>
                    <a:pt x="1714" y="900"/>
                    <a:pt x="1765" y="775"/>
                    <a:pt x="1784" y="727"/>
                  </a:cubicBezTo>
                  <a:cubicBezTo>
                    <a:pt x="1804" y="714"/>
                    <a:pt x="1815" y="696"/>
                    <a:pt x="1822" y="680"/>
                  </a:cubicBezTo>
                  <a:cubicBezTo>
                    <a:pt x="1809" y="684"/>
                    <a:pt x="1796" y="687"/>
                    <a:pt x="1784" y="687"/>
                  </a:cubicBezTo>
                  <a:close/>
                  <a:moveTo>
                    <a:pt x="1842" y="480"/>
                  </a:moveTo>
                  <a:cubicBezTo>
                    <a:pt x="1842" y="301"/>
                    <a:pt x="1704" y="157"/>
                    <a:pt x="1524" y="157"/>
                  </a:cubicBezTo>
                  <a:cubicBezTo>
                    <a:pt x="1344" y="157"/>
                    <a:pt x="1206" y="301"/>
                    <a:pt x="1206" y="480"/>
                  </a:cubicBezTo>
                  <a:cubicBezTo>
                    <a:pt x="1206" y="519"/>
                    <a:pt x="1213" y="598"/>
                    <a:pt x="1224" y="612"/>
                  </a:cubicBezTo>
                  <a:cubicBezTo>
                    <a:pt x="1256" y="640"/>
                    <a:pt x="1259" y="489"/>
                    <a:pt x="1349" y="428"/>
                  </a:cubicBezTo>
                  <a:cubicBezTo>
                    <a:pt x="1359" y="422"/>
                    <a:pt x="1380" y="410"/>
                    <a:pt x="1380" y="410"/>
                  </a:cubicBezTo>
                  <a:cubicBezTo>
                    <a:pt x="1579" y="409"/>
                    <a:pt x="1731" y="619"/>
                    <a:pt x="1767" y="639"/>
                  </a:cubicBezTo>
                  <a:cubicBezTo>
                    <a:pt x="1798" y="657"/>
                    <a:pt x="1864" y="610"/>
                    <a:pt x="1864" y="610"/>
                  </a:cubicBezTo>
                  <a:cubicBezTo>
                    <a:pt x="1845" y="583"/>
                    <a:pt x="1840" y="557"/>
                    <a:pt x="1841" y="540"/>
                  </a:cubicBezTo>
                  <a:cubicBezTo>
                    <a:pt x="1843" y="521"/>
                    <a:pt x="1842" y="500"/>
                    <a:pt x="1842" y="480"/>
                  </a:cubicBezTo>
                  <a:close/>
                  <a:moveTo>
                    <a:pt x="1000" y="982"/>
                  </a:moveTo>
                  <a:cubicBezTo>
                    <a:pt x="891" y="922"/>
                    <a:pt x="891" y="922"/>
                    <a:pt x="891" y="922"/>
                  </a:cubicBezTo>
                  <a:cubicBezTo>
                    <a:pt x="891" y="893"/>
                    <a:pt x="891" y="893"/>
                    <a:pt x="891" y="893"/>
                  </a:cubicBezTo>
                  <a:cubicBezTo>
                    <a:pt x="1281" y="893"/>
                    <a:pt x="1281" y="893"/>
                    <a:pt x="1281" y="893"/>
                  </a:cubicBezTo>
                  <a:cubicBezTo>
                    <a:pt x="1274" y="881"/>
                    <a:pt x="1267" y="866"/>
                    <a:pt x="1259" y="849"/>
                  </a:cubicBezTo>
                  <a:cubicBezTo>
                    <a:pt x="869" y="849"/>
                    <a:pt x="869" y="849"/>
                    <a:pt x="869" y="849"/>
                  </a:cubicBezTo>
                  <a:cubicBezTo>
                    <a:pt x="857" y="849"/>
                    <a:pt x="847" y="859"/>
                    <a:pt x="847" y="871"/>
                  </a:cubicBezTo>
                  <a:cubicBezTo>
                    <a:pt x="847" y="936"/>
                    <a:pt x="847" y="936"/>
                    <a:pt x="847" y="936"/>
                  </a:cubicBezTo>
                  <a:cubicBezTo>
                    <a:pt x="847" y="944"/>
                    <a:pt x="851" y="951"/>
                    <a:pt x="858" y="955"/>
                  </a:cubicBezTo>
                  <a:cubicBezTo>
                    <a:pt x="904" y="980"/>
                    <a:pt x="904" y="980"/>
                    <a:pt x="904" y="980"/>
                  </a:cubicBezTo>
                  <a:cubicBezTo>
                    <a:pt x="663" y="980"/>
                    <a:pt x="663" y="980"/>
                    <a:pt x="663" y="980"/>
                  </a:cubicBezTo>
                  <a:cubicBezTo>
                    <a:pt x="708" y="955"/>
                    <a:pt x="708" y="955"/>
                    <a:pt x="708" y="955"/>
                  </a:cubicBezTo>
                  <a:cubicBezTo>
                    <a:pt x="715" y="951"/>
                    <a:pt x="720" y="944"/>
                    <a:pt x="720" y="936"/>
                  </a:cubicBezTo>
                  <a:cubicBezTo>
                    <a:pt x="720" y="871"/>
                    <a:pt x="720" y="871"/>
                    <a:pt x="720" y="871"/>
                  </a:cubicBezTo>
                  <a:cubicBezTo>
                    <a:pt x="720" y="859"/>
                    <a:pt x="710" y="849"/>
                    <a:pt x="698" y="849"/>
                  </a:cubicBezTo>
                  <a:cubicBezTo>
                    <a:pt x="44" y="849"/>
                    <a:pt x="44" y="849"/>
                    <a:pt x="44" y="849"/>
                  </a:cubicBezTo>
                  <a:cubicBezTo>
                    <a:pt x="44" y="44"/>
                    <a:pt x="44" y="44"/>
                    <a:pt x="44" y="44"/>
                  </a:cubicBezTo>
                  <a:cubicBezTo>
                    <a:pt x="1523" y="44"/>
                    <a:pt x="1523" y="44"/>
                    <a:pt x="1523" y="44"/>
                  </a:cubicBezTo>
                  <a:cubicBezTo>
                    <a:pt x="1523" y="106"/>
                    <a:pt x="1523" y="106"/>
                    <a:pt x="1523" y="106"/>
                  </a:cubicBezTo>
                  <a:cubicBezTo>
                    <a:pt x="1523" y="106"/>
                    <a:pt x="1524" y="106"/>
                    <a:pt x="1524" y="106"/>
                  </a:cubicBezTo>
                  <a:cubicBezTo>
                    <a:pt x="1539" y="106"/>
                    <a:pt x="1553" y="107"/>
                    <a:pt x="1567" y="108"/>
                  </a:cubicBezTo>
                  <a:cubicBezTo>
                    <a:pt x="1567" y="22"/>
                    <a:pt x="1567" y="22"/>
                    <a:pt x="1567" y="22"/>
                  </a:cubicBezTo>
                  <a:cubicBezTo>
                    <a:pt x="1567" y="10"/>
                    <a:pt x="1557" y="0"/>
                    <a:pt x="1545" y="0"/>
                  </a:cubicBezTo>
                  <a:cubicBezTo>
                    <a:pt x="22" y="0"/>
                    <a:pt x="22" y="0"/>
                    <a:pt x="22" y="0"/>
                  </a:cubicBezTo>
                  <a:cubicBezTo>
                    <a:pt x="10" y="0"/>
                    <a:pt x="0" y="10"/>
                    <a:pt x="0" y="22"/>
                  </a:cubicBezTo>
                  <a:cubicBezTo>
                    <a:pt x="0" y="871"/>
                    <a:pt x="0" y="871"/>
                    <a:pt x="0" y="871"/>
                  </a:cubicBezTo>
                  <a:cubicBezTo>
                    <a:pt x="0" y="883"/>
                    <a:pt x="10" y="893"/>
                    <a:pt x="22" y="893"/>
                  </a:cubicBezTo>
                  <a:cubicBezTo>
                    <a:pt x="676" y="893"/>
                    <a:pt x="676" y="893"/>
                    <a:pt x="676" y="893"/>
                  </a:cubicBezTo>
                  <a:cubicBezTo>
                    <a:pt x="676" y="922"/>
                    <a:pt x="676" y="922"/>
                    <a:pt x="676" y="922"/>
                  </a:cubicBezTo>
                  <a:cubicBezTo>
                    <a:pt x="566" y="982"/>
                    <a:pt x="566" y="982"/>
                    <a:pt x="566" y="982"/>
                  </a:cubicBezTo>
                  <a:cubicBezTo>
                    <a:pt x="557" y="987"/>
                    <a:pt x="553" y="998"/>
                    <a:pt x="555" y="1007"/>
                  </a:cubicBezTo>
                  <a:cubicBezTo>
                    <a:pt x="558" y="1017"/>
                    <a:pt x="567" y="1024"/>
                    <a:pt x="577" y="1024"/>
                  </a:cubicBezTo>
                  <a:cubicBezTo>
                    <a:pt x="990" y="1024"/>
                    <a:pt x="990" y="1024"/>
                    <a:pt x="990" y="1024"/>
                  </a:cubicBezTo>
                  <a:cubicBezTo>
                    <a:pt x="1000" y="1024"/>
                    <a:pt x="1009" y="1017"/>
                    <a:pt x="1011" y="1007"/>
                  </a:cubicBezTo>
                  <a:cubicBezTo>
                    <a:pt x="1014" y="998"/>
                    <a:pt x="1009" y="987"/>
                    <a:pt x="1000" y="9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1" name="ee4pHeader1"/>
          <p:cNvSpPr txBox="1"/>
          <p:nvPr/>
        </p:nvSpPr>
        <p:spPr>
          <a:xfrm>
            <a:off x="575295" y="2669293"/>
            <a:ext cx="1664471" cy="492443"/>
          </a:xfrm>
          <a:prstGeom prst="rect">
            <a:avLst/>
          </a:prstGeom>
          <a:noFill/>
          <a:ln cap="rnd">
            <a:noFill/>
          </a:ln>
        </p:spPr>
        <p:txBody>
          <a:bodyPr wrap="square" lIns="0" tIns="0" rIns="0" bIns="0" rtlCol="0" anchor="ctr" anchorCtr="0">
            <a:spAutoFit/>
          </a:bodyPr>
          <a:lstStyle/>
          <a:p>
            <a:pPr marL="0" lvl="3" algn="ctr"/>
            <a:r>
              <a:rPr lang="fr-FR" sz="1600" dirty="0">
                <a:solidFill>
                  <a:schemeClr val="tx2"/>
                </a:solidFill>
              </a:rPr>
              <a:t>De la structure et </a:t>
            </a:r>
            <a:r>
              <a:rPr lang="fr-FR" sz="1600" dirty="0"/>
              <a:t>de la créativité</a:t>
            </a:r>
          </a:p>
        </p:txBody>
      </p:sp>
      <p:sp>
        <p:nvSpPr>
          <p:cNvPr id="47" name="ee4pHeader1"/>
          <p:cNvSpPr txBox="1"/>
          <p:nvPr/>
        </p:nvSpPr>
        <p:spPr>
          <a:xfrm>
            <a:off x="2975504" y="2669293"/>
            <a:ext cx="2098491" cy="492443"/>
          </a:xfrm>
          <a:prstGeom prst="rect">
            <a:avLst/>
          </a:prstGeom>
          <a:noFill/>
          <a:ln cap="rnd">
            <a:noFill/>
          </a:ln>
        </p:spPr>
        <p:txBody>
          <a:bodyPr wrap="square" lIns="0" tIns="0" rIns="0" bIns="0" rtlCol="0" anchor="ctr" anchorCtr="0">
            <a:spAutoFit/>
          </a:bodyPr>
          <a:lstStyle/>
          <a:p>
            <a:pPr marL="0" lvl="3" algn="ctr"/>
            <a:r>
              <a:rPr lang="fr-FR" sz="1600" dirty="0">
                <a:solidFill>
                  <a:schemeClr val="tx2"/>
                </a:solidFill>
              </a:rPr>
              <a:t>Des hypothèses </a:t>
            </a:r>
          </a:p>
          <a:p>
            <a:pPr algn="ctr">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avec du business sense</a:t>
            </a:r>
          </a:p>
        </p:txBody>
      </p:sp>
      <p:sp>
        <p:nvSpPr>
          <p:cNvPr id="48" name="ee4pHeader1"/>
          <p:cNvSpPr txBox="1"/>
          <p:nvPr/>
        </p:nvSpPr>
        <p:spPr>
          <a:xfrm>
            <a:off x="5623515" y="2669293"/>
            <a:ext cx="2049396" cy="738664"/>
          </a:xfrm>
          <a:prstGeom prst="rect">
            <a:avLst/>
          </a:prstGeom>
          <a:noFill/>
          <a:ln cap="rnd">
            <a:noFill/>
          </a:ln>
        </p:spPr>
        <p:txBody>
          <a:bodyPr wrap="square" lIns="0" tIns="0" rIns="0" bIns="0" rtlCol="0" anchor="ctr" anchorCtr="0">
            <a:spAutoFit/>
          </a:bodyPr>
          <a:lstStyle/>
          <a:p>
            <a:pPr algn="ctr">
              <a:buSzPct val="100000"/>
              <a:buFont typeface="Trebuchet MS" panose="020B0603020202020204" pitchFamily="34" charset="0"/>
              <a:buChar char="​"/>
            </a:pPr>
            <a:r>
              <a:rPr lang="fr-FR" sz="1600" dirty="0">
                <a:solidFill>
                  <a:schemeClr val="tx2"/>
                </a:solidFill>
              </a:rPr>
              <a:t>Des modèles data </a:t>
            </a:r>
            <a:r>
              <a:rPr lang="fr-FR" sz="1600" dirty="0">
                <a:solidFill>
                  <a:schemeClr val="tx1">
                    <a:lumMod val="100000"/>
                  </a:schemeClr>
                </a:solidFill>
                <a:latin typeface="Trebuchet MS" panose="020B0603020202020204" pitchFamily="34" charset="0"/>
              </a:rPr>
              <a:t>robustes et répondant au problème</a:t>
            </a:r>
          </a:p>
        </p:txBody>
      </p:sp>
      <p:sp>
        <p:nvSpPr>
          <p:cNvPr id="49" name="ee4pHeader1"/>
          <p:cNvSpPr txBox="1"/>
          <p:nvPr/>
        </p:nvSpPr>
        <p:spPr>
          <a:xfrm>
            <a:off x="2912087" y="4730070"/>
            <a:ext cx="2219633" cy="492443"/>
          </a:xfrm>
          <a:prstGeom prst="rect">
            <a:avLst/>
          </a:prstGeom>
          <a:noFill/>
          <a:ln cap="rnd">
            <a:noFill/>
          </a:ln>
        </p:spPr>
        <p:txBody>
          <a:bodyPr wrap="square" lIns="0" tIns="0" rIns="0" bIns="0" rtlCol="0" anchor="ctr" anchorCtr="0">
            <a:spAutoFit/>
          </a:bodyPr>
          <a:lstStyle/>
          <a:p>
            <a:pPr marL="0" lvl="3" algn="ctr"/>
            <a:r>
              <a:rPr lang="fr-FR" sz="1600" dirty="0">
                <a:solidFill>
                  <a:schemeClr val="tx2"/>
                </a:solidFill>
              </a:rPr>
              <a:t>Des résultats justifiés </a:t>
            </a:r>
            <a:r>
              <a:rPr lang="fr-FR" sz="1600" dirty="0"/>
              <a:t>et des erreurs mesurées</a:t>
            </a:r>
          </a:p>
        </p:txBody>
      </p:sp>
      <p:sp>
        <p:nvSpPr>
          <p:cNvPr id="50" name="ee4pHeader1"/>
          <p:cNvSpPr txBox="1"/>
          <p:nvPr/>
        </p:nvSpPr>
        <p:spPr>
          <a:xfrm>
            <a:off x="431821" y="4719972"/>
            <a:ext cx="1938930" cy="738664"/>
          </a:xfrm>
          <a:prstGeom prst="rect">
            <a:avLst/>
          </a:prstGeom>
          <a:noFill/>
          <a:ln cap="rnd">
            <a:noFill/>
          </a:ln>
        </p:spPr>
        <p:txBody>
          <a:bodyPr wrap="square" lIns="0" tIns="0" rIns="0" bIns="0" rtlCol="0" anchor="ctr" anchorCtr="0">
            <a:spAutoFit/>
          </a:bodyPr>
          <a:lstStyle/>
          <a:p>
            <a:pPr algn="ctr">
              <a:buSzPct val="100000"/>
              <a:buFont typeface="Trebuchet MS" panose="020B0603020202020204" pitchFamily="34" charset="0"/>
              <a:buChar char="​"/>
            </a:pPr>
            <a:r>
              <a:rPr lang="fr-FR" sz="1600" dirty="0">
                <a:solidFill>
                  <a:schemeClr val="tx2"/>
                </a:solidFill>
              </a:rPr>
              <a:t>Du code commenté</a:t>
            </a:r>
            <a:r>
              <a:rPr lang="fr-FR" sz="1600" dirty="0">
                <a:solidFill>
                  <a:schemeClr val="tx2"/>
                </a:solidFill>
                <a:latin typeface="Trebuchet MS" panose="020B0603020202020204" pitchFamily="34" charset="0"/>
              </a:rPr>
              <a:t>,</a:t>
            </a:r>
            <a:r>
              <a:rPr lang="fr-FR" sz="1600" dirty="0">
                <a:solidFill>
                  <a:schemeClr val="tx1">
                    <a:lumMod val="100000"/>
                  </a:schemeClr>
                </a:solidFill>
                <a:latin typeface="Trebuchet MS" panose="020B0603020202020204" pitchFamily="34" charset="0"/>
              </a:rPr>
              <a:t> lisible et bien structuré</a:t>
            </a:r>
          </a:p>
        </p:txBody>
      </p:sp>
      <p:sp>
        <p:nvSpPr>
          <p:cNvPr id="51" name="ee4pHeader1"/>
          <p:cNvSpPr txBox="1"/>
          <p:nvPr/>
        </p:nvSpPr>
        <p:spPr>
          <a:xfrm>
            <a:off x="5678748" y="4719969"/>
            <a:ext cx="1938930" cy="738664"/>
          </a:xfrm>
          <a:prstGeom prst="rect">
            <a:avLst/>
          </a:prstGeom>
          <a:noFill/>
          <a:ln cap="rnd">
            <a:noFill/>
          </a:ln>
        </p:spPr>
        <p:txBody>
          <a:bodyPr wrap="square" lIns="0" tIns="0" rIns="0" bIns="0" rtlCol="0" anchor="ctr" anchorCtr="0">
            <a:spAutoFit/>
          </a:bodyPr>
          <a:lstStyle/>
          <a:p>
            <a:pPr marL="0" lvl="3" algn="ctr"/>
            <a:r>
              <a:rPr lang="fr-FR" sz="1600" dirty="0">
                <a:solidFill>
                  <a:schemeClr val="tx2"/>
                </a:solidFill>
              </a:rPr>
              <a:t>Une présentation</a:t>
            </a:r>
          </a:p>
          <a:p>
            <a:pPr algn="ctr">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reposant sur une histoire ("</a:t>
            </a:r>
            <a:r>
              <a:rPr lang="fr-FR" sz="1600" dirty="0" err="1">
                <a:solidFill>
                  <a:schemeClr val="tx1">
                    <a:lumMod val="100000"/>
                  </a:schemeClr>
                </a:solidFill>
                <a:latin typeface="Trebuchet MS" panose="020B0603020202020204" pitchFamily="34" charset="0"/>
              </a:rPr>
              <a:t>storyline</a:t>
            </a:r>
            <a:r>
              <a:rPr lang="fr-FR" sz="1600" dirty="0">
                <a:solidFill>
                  <a:schemeClr val="tx1">
                    <a:lumMod val="100000"/>
                  </a:schemeClr>
                </a:solidFill>
                <a:latin typeface="Trebuchet MS" panose="020B0603020202020204" pitchFamily="34" charset="0"/>
              </a:rPr>
              <a:t>")</a:t>
            </a:r>
          </a:p>
        </p:txBody>
      </p:sp>
      <p:grpSp>
        <p:nvGrpSpPr>
          <p:cNvPr id="52" name="Group 51">
            <a:extLst>
              <a:ext uri="{FF2B5EF4-FFF2-40B4-BE49-F238E27FC236}">
                <a16:creationId xmlns:a16="http://schemas.microsoft.com/office/drawing/2014/main" id="{18C6F348-55CA-9D43-B301-CD2F201C1A69}"/>
              </a:ext>
            </a:extLst>
          </p:cNvPr>
          <p:cNvGrpSpPr>
            <a:grpSpLocks noChangeAspect="1"/>
          </p:cNvGrpSpPr>
          <p:nvPr/>
        </p:nvGrpSpPr>
        <p:grpSpPr>
          <a:xfrm>
            <a:off x="3599921" y="3807426"/>
            <a:ext cx="843965" cy="843965"/>
            <a:chOff x="5273675" y="2606675"/>
            <a:chExt cx="1644650" cy="1644650"/>
          </a:xfrm>
        </p:grpSpPr>
        <p:sp>
          <p:nvSpPr>
            <p:cNvPr id="53" name="AutoShape 44">
              <a:extLst>
                <a:ext uri="{FF2B5EF4-FFF2-40B4-BE49-F238E27FC236}">
                  <a16:creationId xmlns:a16="http://schemas.microsoft.com/office/drawing/2014/main" id="{B20F44AA-66DE-FA4E-8DFF-65AF01EF22C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4" name="Group 53">
              <a:extLst>
                <a:ext uri="{FF2B5EF4-FFF2-40B4-BE49-F238E27FC236}">
                  <a16:creationId xmlns:a16="http://schemas.microsoft.com/office/drawing/2014/main" id="{F30BBD0B-04A4-A945-A38B-988D88D881E1}"/>
                </a:ext>
              </a:extLst>
            </p:cNvPr>
            <p:cNvGrpSpPr/>
            <p:nvPr/>
          </p:nvGrpSpPr>
          <p:grpSpPr>
            <a:xfrm>
              <a:off x="5444331" y="2883694"/>
              <a:ext cx="1303338" cy="1090613"/>
              <a:chOff x="5445125" y="2884488"/>
              <a:chExt cx="1303338" cy="1090613"/>
            </a:xfrm>
          </p:grpSpPr>
          <p:sp>
            <p:nvSpPr>
              <p:cNvPr id="55" name="Freeform 54">
                <a:extLst>
                  <a:ext uri="{FF2B5EF4-FFF2-40B4-BE49-F238E27FC236}">
                    <a16:creationId xmlns:a16="http://schemas.microsoft.com/office/drawing/2014/main" id="{4F500856-4513-4145-ABC2-E76A18751063}"/>
                  </a:ext>
                </a:extLst>
              </p:cNvPr>
              <p:cNvSpPr>
                <a:spLocks/>
              </p:cNvSpPr>
              <p:nvPr/>
            </p:nvSpPr>
            <p:spPr bwMode="auto">
              <a:xfrm>
                <a:off x="5445125" y="2884488"/>
                <a:ext cx="1303338" cy="1090613"/>
              </a:xfrm>
              <a:custGeom>
                <a:avLst/>
                <a:gdLst>
                  <a:gd name="connsiteX0" fmla="*/ 268288 w 1303338"/>
                  <a:gd name="connsiteY0" fmla="*/ 836612 h 1090613"/>
                  <a:gd name="connsiteX1" fmla="*/ 283720 w 1303338"/>
                  <a:gd name="connsiteY1" fmla="*/ 837325 h 1090613"/>
                  <a:gd name="connsiteX2" fmla="*/ 298451 w 1303338"/>
                  <a:gd name="connsiteY2" fmla="*/ 836612 h 1090613"/>
                  <a:gd name="connsiteX3" fmla="*/ 298451 w 1303338"/>
                  <a:gd name="connsiteY3" fmla="*/ 974916 h 1090613"/>
                  <a:gd name="connsiteX4" fmla="*/ 283720 w 1303338"/>
                  <a:gd name="connsiteY4" fmla="*/ 990600 h 1090613"/>
                  <a:gd name="connsiteX5" fmla="*/ 268288 w 1303338"/>
                  <a:gd name="connsiteY5" fmla="*/ 974916 h 1090613"/>
                  <a:gd name="connsiteX6" fmla="*/ 268288 w 1303338"/>
                  <a:gd name="connsiteY6" fmla="*/ 836612 h 1090613"/>
                  <a:gd name="connsiteX7" fmla="*/ 1004888 w 1303338"/>
                  <a:gd name="connsiteY7" fmla="*/ 698500 h 1090613"/>
                  <a:gd name="connsiteX8" fmla="*/ 1020763 w 1303338"/>
                  <a:gd name="connsiteY8" fmla="*/ 699213 h 1090613"/>
                  <a:gd name="connsiteX9" fmla="*/ 1036638 w 1303338"/>
                  <a:gd name="connsiteY9" fmla="*/ 698500 h 1090613"/>
                  <a:gd name="connsiteX10" fmla="*/ 1036638 w 1303338"/>
                  <a:gd name="connsiteY10" fmla="*/ 974926 h 1090613"/>
                  <a:gd name="connsiteX11" fmla="*/ 1020763 w 1303338"/>
                  <a:gd name="connsiteY11" fmla="*/ 990600 h 1090613"/>
                  <a:gd name="connsiteX12" fmla="*/ 1004888 w 1303338"/>
                  <a:gd name="connsiteY12" fmla="*/ 974926 h 1090613"/>
                  <a:gd name="connsiteX13" fmla="*/ 1004888 w 1303338"/>
                  <a:gd name="connsiteY13" fmla="*/ 698500 h 1090613"/>
                  <a:gd name="connsiteX14" fmla="*/ 636588 w 1303338"/>
                  <a:gd name="connsiteY14" fmla="*/ 541337 h 1090613"/>
                  <a:gd name="connsiteX15" fmla="*/ 651670 w 1303338"/>
                  <a:gd name="connsiteY15" fmla="*/ 542051 h 1090613"/>
                  <a:gd name="connsiteX16" fmla="*/ 666751 w 1303338"/>
                  <a:gd name="connsiteY16" fmla="*/ 541337 h 1090613"/>
                  <a:gd name="connsiteX17" fmla="*/ 666751 w 1303338"/>
                  <a:gd name="connsiteY17" fmla="*/ 974887 h 1090613"/>
                  <a:gd name="connsiteX18" fmla="*/ 651670 w 1303338"/>
                  <a:gd name="connsiteY18" fmla="*/ 990600 h 1090613"/>
                  <a:gd name="connsiteX19" fmla="*/ 636588 w 1303338"/>
                  <a:gd name="connsiteY19" fmla="*/ 974887 h 1090613"/>
                  <a:gd name="connsiteX20" fmla="*/ 636588 w 1303338"/>
                  <a:gd name="connsiteY20" fmla="*/ 541337 h 1090613"/>
                  <a:gd name="connsiteX21" fmla="*/ 1020763 w 1303338"/>
                  <a:gd name="connsiteY21" fmla="*/ 96837 h 1090613"/>
                  <a:gd name="connsiteX22" fmla="*/ 1036638 w 1303338"/>
                  <a:gd name="connsiteY22" fmla="*/ 112537 h 1090613"/>
                  <a:gd name="connsiteX23" fmla="*/ 1036638 w 1303338"/>
                  <a:gd name="connsiteY23" fmla="*/ 393700 h 1090613"/>
                  <a:gd name="connsiteX24" fmla="*/ 1020763 w 1303338"/>
                  <a:gd name="connsiteY24" fmla="*/ 392987 h 1090613"/>
                  <a:gd name="connsiteX25" fmla="*/ 1004888 w 1303338"/>
                  <a:gd name="connsiteY25" fmla="*/ 393700 h 1090613"/>
                  <a:gd name="connsiteX26" fmla="*/ 1004888 w 1303338"/>
                  <a:gd name="connsiteY26" fmla="*/ 112537 h 1090613"/>
                  <a:gd name="connsiteX27" fmla="*/ 1020763 w 1303338"/>
                  <a:gd name="connsiteY27" fmla="*/ 96837 h 1090613"/>
                  <a:gd name="connsiteX28" fmla="*/ 651670 w 1303338"/>
                  <a:gd name="connsiteY28" fmla="*/ 96837 h 1090613"/>
                  <a:gd name="connsiteX29" fmla="*/ 666751 w 1303338"/>
                  <a:gd name="connsiteY29" fmla="*/ 112518 h 1090613"/>
                  <a:gd name="connsiteX30" fmla="*/ 666751 w 1303338"/>
                  <a:gd name="connsiteY30" fmla="*/ 236537 h 1090613"/>
                  <a:gd name="connsiteX31" fmla="*/ 651670 w 1303338"/>
                  <a:gd name="connsiteY31" fmla="*/ 235824 h 1090613"/>
                  <a:gd name="connsiteX32" fmla="*/ 636588 w 1303338"/>
                  <a:gd name="connsiteY32" fmla="*/ 236537 h 1090613"/>
                  <a:gd name="connsiteX33" fmla="*/ 636588 w 1303338"/>
                  <a:gd name="connsiteY33" fmla="*/ 112518 h 1090613"/>
                  <a:gd name="connsiteX34" fmla="*/ 651670 w 1303338"/>
                  <a:gd name="connsiteY34" fmla="*/ 96837 h 1090613"/>
                  <a:gd name="connsiteX35" fmla="*/ 283720 w 1303338"/>
                  <a:gd name="connsiteY35" fmla="*/ 96837 h 1090613"/>
                  <a:gd name="connsiteX36" fmla="*/ 298451 w 1303338"/>
                  <a:gd name="connsiteY36" fmla="*/ 112525 h 1090613"/>
                  <a:gd name="connsiteX37" fmla="*/ 298451 w 1303338"/>
                  <a:gd name="connsiteY37" fmla="*/ 531812 h 1090613"/>
                  <a:gd name="connsiteX38" fmla="*/ 283720 w 1303338"/>
                  <a:gd name="connsiteY38" fmla="*/ 531099 h 1090613"/>
                  <a:gd name="connsiteX39" fmla="*/ 268288 w 1303338"/>
                  <a:gd name="connsiteY39" fmla="*/ 531812 h 1090613"/>
                  <a:gd name="connsiteX40" fmla="*/ 268288 w 1303338"/>
                  <a:gd name="connsiteY40" fmla="*/ 112525 h 1090613"/>
                  <a:gd name="connsiteX41" fmla="*/ 283720 w 1303338"/>
                  <a:gd name="connsiteY41" fmla="*/ 96837 h 1090613"/>
                  <a:gd name="connsiteX42" fmla="*/ 31750 w 1303338"/>
                  <a:gd name="connsiteY42" fmla="*/ 31750 h 1090613"/>
                  <a:gd name="connsiteX43" fmla="*/ 31750 w 1303338"/>
                  <a:gd name="connsiteY43" fmla="*/ 1060450 h 1090613"/>
                  <a:gd name="connsiteX44" fmla="*/ 1271588 w 1303338"/>
                  <a:gd name="connsiteY44" fmla="*/ 1060450 h 1090613"/>
                  <a:gd name="connsiteX45" fmla="*/ 1271588 w 1303338"/>
                  <a:gd name="connsiteY45" fmla="*/ 31750 h 1090613"/>
                  <a:gd name="connsiteX46" fmla="*/ 31750 w 1303338"/>
                  <a:gd name="connsiteY46" fmla="*/ 31750 h 1090613"/>
                  <a:gd name="connsiteX47" fmla="*/ 19272 w 1303338"/>
                  <a:gd name="connsiteY47" fmla="*/ 0 h 1090613"/>
                  <a:gd name="connsiteX48" fmla="*/ 1284066 w 1303338"/>
                  <a:gd name="connsiteY48" fmla="*/ 0 h 1090613"/>
                  <a:gd name="connsiteX49" fmla="*/ 1303338 w 1303338"/>
                  <a:gd name="connsiteY49" fmla="*/ 16416 h 1090613"/>
                  <a:gd name="connsiteX50" fmla="*/ 1303338 w 1303338"/>
                  <a:gd name="connsiteY50" fmla="*/ 1074197 h 1090613"/>
                  <a:gd name="connsiteX51" fmla="*/ 1284066 w 1303338"/>
                  <a:gd name="connsiteY51" fmla="*/ 1090613 h 1090613"/>
                  <a:gd name="connsiteX52" fmla="*/ 19272 w 1303338"/>
                  <a:gd name="connsiteY52" fmla="*/ 1090613 h 1090613"/>
                  <a:gd name="connsiteX53" fmla="*/ 0 w 1303338"/>
                  <a:gd name="connsiteY53" fmla="*/ 1074197 h 1090613"/>
                  <a:gd name="connsiteX54" fmla="*/ 0 w 1303338"/>
                  <a:gd name="connsiteY54" fmla="*/ 16416 h 1090613"/>
                  <a:gd name="connsiteX55" fmla="*/ 19272 w 1303338"/>
                  <a:gd name="connsiteY55" fmla="*/ 0 h 109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03338" h="1090613">
                    <a:moveTo>
                      <a:pt x="268288" y="836612"/>
                    </a:moveTo>
                    <a:cubicBezTo>
                      <a:pt x="273199" y="836612"/>
                      <a:pt x="278810" y="837325"/>
                      <a:pt x="283720" y="837325"/>
                    </a:cubicBezTo>
                    <a:cubicBezTo>
                      <a:pt x="287929" y="837325"/>
                      <a:pt x="293541" y="836612"/>
                      <a:pt x="298451" y="836612"/>
                    </a:cubicBezTo>
                    <a:cubicBezTo>
                      <a:pt x="298451" y="836612"/>
                      <a:pt x="298451" y="836612"/>
                      <a:pt x="298451" y="974916"/>
                    </a:cubicBezTo>
                    <a:cubicBezTo>
                      <a:pt x="298451" y="984184"/>
                      <a:pt x="291437" y="990600"/>
                      <a:pt x="283720" y="990600"/>
                    </a:cubicBezTo>
                    <a:cubicBezTo>
                      <a:pt x="275303" y="990600"/>
                      <a:pt x="268288" y="984184"/>
                      <a:pt x="268288" y="974916"/>
                    </a:cubicBezTo>
                    <a:cubicBezTo>
                      <a:pt x="268288" y="974916"/>
                      <a:pt x="268288" y="974916"/>
                      <a:pt x="268288" y="836612"/>
                    </a:cubicBezTo>
                    <a:close/>
                    <a:moveTo>
                      <a:pt x="1004888" y="698500"/>
                    </a:moveTo>
                    <a:cubicBezTo>
                      <a:pt x="1009720" y="699213"/>
                      <a:pt x="1014551" y="699213"/>
                      <a:pt x="1020763" y="699213"/>
                    </a:cubicBezTo>
                    <a:cubicBezTo>
                      <a:pt x="1025595" y="699213"/>
                      <a:pt x="1031117" y="699213"/>
                      <a:pt x="1036638" y="698500"/>
                    </a:cubicBezTo>
                    <a:cubicBezTo>
                      <a:pt x="1036638" y="698500"/>
                      <a:pt x="1036638" y="698500"/>
                      <a:pt x="1036638" y="974926"/>
                    </a:cubicBezTo>
                    <a:cubicBezTo>
                      <a:pt x="1036638" y="984188"/>
                      <a:pt x="1029046" y="990600"/>
                      <a:pt x="1020763" y="990600"/>
                    </a:cubicBezTo>
                    <a:cubicBezTo>
                      <a:pt x="1011790" y="990600"/>
                      <a:pt x="1004888" y="984188"/>
                      <a:pt x="1004888" y="974926"/>
                    </a:cubicBezTo>
                    <a:cubicBezTo>
                      <a:pt x="1004888" y="974926"/>
                      <a:pt x="1004888" y="974926"/>
                      <a:pt x="1004888" y="698500"/>
                    </a:cubicBezTo>
                    <a:close/>
                    <a:moveTo>
                      <a:pt x="636588" y="541337"/>
                    </a:moveTo>
                    <a:cubicBezTo>
                      <a:pt x="641615" y="542051"/>
                      <a:pt x="645924" y="542051"/>
                      <a:pt x="651670" y="542051"/>
                    </a:cubicBezTo>
                    <a:cubicBezTo>
                      <a:pt x="656697" y="542051"/>
                      <a:pt x="662442" y="542051"/>
                      <a:pt x="666751" y="541337"/>
                    </a:cubicBezTo>
                    <a:cubicBezTo>
                      <a:pt x="666751" y="541337"/>
                      <a:pt x="666751" y="541337"/>
                      <a:pt x="666751" y="974887"/>
                    </a:cubicBezTo>
                    <a:cubicBezTo>
                      <a:pt x="666751" y="984172"/>
                      <a:pt x="660288" y="990600"/>
                      <a:pt x="651670" y="990600"/>
                    </a:cubicBezTo>
                    <a:cubicBezTo>
                      <a:pt x="643052" y="990600"/>
                      <a:pt x="636588" y="984172"/>
                      <a:pt x="636588" y="974887"/>
                    </a:cubicBezTo>
                    <a:cubicBezTo>
                      <a:pt x="636588" y="974887"/>
                      <a:pt x="636588" y="974887"/>
                      <a:pt x="636588" y="541337"/>
                    </a:cubicBezTo>
                    <a:close/>
                    <a:moveTo>
                      <a:pt x="1020763" y="96837"/>
                    </a:moveTo>
                    <a:cubicBezTo>
                      <a:pt x="1029046" y="96837"/>
                      <a:pt x="1036638" y="103973"/>
                      <a:pt x="1036638" y="112537"/>
                    </a:cubicBezTo>
                    <a:cubicBezTo>
                      <a:pt x="1036638" y="112537"/>
                      <a:pt x="1036638" y="112537"/>
                      <a:pt x="1036638" y="393700"/>
                    </a:cubicBezTo>
                    <a:cubicBezTo>
                      <a:pt x="1031117" y="393700"/>
                      <a:pt x="1025595" y="392987"/>
                      <a:pt x="1020763" y="392987"/>
                    </a:cubicBezTo>
                    <a:cubicBezTo>
                      <a:pt x="1014551" y="392987"/>
                      <a:pt x="1009720" y="393700"/>
                      <a:pt x="1004888" y="393700"/>
                    </a:cubicBezTo>
                    <a:cubicBezTo>
                      <a:pt x="1004888" y="393700"/>
                      <a:pt x="1004888" y="393700"/>
                      <a:pt x="1004888" y="112537"/>
                    </a:cubicBezTo>
                    <a:cubicBezTo>
                      <a:pt x="1004888" y="103973"/>
                      <a:pt x="1011790" y="96837"/>
                      <a:pt x="1020763" y="96837"/>
                    </a:cubicBezTo>
                    <a:close/>
                    <a:moveTo>
                      <a:pt x="651670" y="96837"/>
                    </a:moveTo>
                    <a:cubicBezTo>
                      <a:pt x="660288" y="96837"/>
                      <a:pt x="666751" y="103965"/>
                      <a:pt x="666751" y="112518"/>
                    </a:cubicBezTo>
                    <a:cubicBezTo>
                      <a:pt x="666751" y="112518"/>
                      <a:pt x="666751" y="112518"/>
                      <a:pt x="666751" y="236537"/>
                    </a:cubicBezTo>
                    <a:cubicBezTo>
                      <a:pt x="662442" y="236537"/>
                      <a:pt x="656697" y="235824"/>
                      <a:pt x="651670" y="235824"/>
                    </a:cubicBezTo>
                    <a:cubicBezTo>
                      <a:pt x="645924" y="235824"/>
                      <a:pt x="641615" y="236537"/>
                      <a:pt x="636588" y="236537"/>
                    </a:cubicBezTo>
                    <a:cubicBezTo>
                      <a:pt x="636588" y="236537"/>
                      <a:pt x="636588" y="236537"/>
                      <a:pt x="636588" y="112518"/>
                    </a:cubicBezTo>
                    <a:cubicBezTo>
                      <a:pt x="636588" y="103965"/>
                      <a:pt x="643052" y="96837"/>
                      <a:pt x="651670" y="96837"/>
                    </a:cubicBezTo>
                    <a:close/>
                    <a:moveTo>
                      <a:pt x="283720" y="96837"/>
                    </a:moveTo>
                    <a:cubicBezTo>
                      <a:pt x="291437" y="96837"/>
                      <a:pt x="298451" y="103968"/>
                      <a:pt x="298451" y="112525"/>
                    </a:cubicBezTo>
                    <a:cubicBezTo>
                      <a:pt x="298451" y="112525"/>
                      <a:pt x="298451" y="112525"/>
                      <a:pt x="298451" y="531812"/>
                    </a:cubicBezTo>
                    <a:cubicBezTo>
                      <a:pt x="293541" y="531099"/>
                      <a:pt x="287929" y="531099"/>
                      <a:pt x="283720" y="531099"/>
                    </a:cubicBezTo>
                    <a:cubicBezTo>
                      <a:pt x="278810" y="531099"/>
                      <a:pt x="273199" y="531099"/>
                      <a:pt x="268288" y="531812"/>
                    </a:cubicBezTo>
                    <a:cubicBezTo>
                      <a:pt x="268288" y="531812"/>
                      <a:pt x="268288" y="531812"/>
                      <a:pt x="268288" y="112525"/>
                    </a:cubicBezTo>
                    <a:cubicBezTo>
                      <a:pt x="268288" y="103968"/>
                      <a:pt x="275303" y="96837"/>
                      <a:pt x="283720" y="96837"/>
                    </a:cubicBezTo>
                    <a:close/>
                    <a:moveTo>
                      <a:pt x="31750" y="31750"/>
                    </a:moveTo>
                    <a:cubicBezTo>
                      <a:pt x="31750" y="31750"/>
                      <a:pt x="31750" y="31750"/>
                      <a:pt x="31750" y="1060450"/>
                    </a:cubicBezTo>
                    <a:cubicBezTo>
                      <a:pt x="31750" y="1060450"/>
                      <a:pt x="31750" y="1060450"/>
                      <a:pt x="1271588" y="1060450"/>
                    </a:cubicBezTo>
                    <a:cubicBezTo>
                      <a:pt x="1271588" y="1060450"/>
                      <a:pt x="1271588" y="1060450"/>
                      <a:pt x="1271588" y="31750"/>
                    </a:cubicBezTo>
                    <a:cubicBezTo>
                      <a:pt x="1271588" y="31750"/>
                      <a:pt x="1271588" y="31750"/>
                      <a:pt x="31750" y="31750"/>
                    </a:cubicBezTo>
                    <a:close/>
                    <a:moveTo>
                      <a:pt x="19272" y="0"/>
                    </a:moveTo>
                    <a:cubicBezTo>
                      <a:pt x="19272" y="0"/>
                      <a:pt x="19272" y="0"/>
                      <a:pt x="1284066" y="0"/>
                    </a:cubicBezTo>
                    <a:cubicBezTo>
                      <a:pt x="1294773" y="0"/>
                      <a:pt x="1303338" y="7851"/>
                      <a:pt x="1303338" y="16416"/>
                    </a:cubicBezTo>
                    <a:cubicBezTo>
                      <a:pt x="1303338" y="16416"/>
                      <a:pt x="1303338" y="16416"/>
                      <a:pt x="1303338" y="1074197"/>
                    </a:cubicBezTo>
                    <a:cubicBezTo>
                      <a:pt x="1303338" y="1082762"/>
                      <a:pt x="1294773" y="1090613"/>
                      <a:pt x="1284066" y="1090613"/>
                    </a:cubicBezTo>
                    <a:cubicBezTo>
                      <a:pt x="1284066" y="1090613"/>
                      <a:pt x="1284066" y="1090613"/>
                      <a:pt x="19272" y="1090613"/>
                    </a:cubicBezTo>
                    <a:cubicBezTo>
                      <a:pt x="8565" y="1090613"/>
                      <a:pt x="0" y="1082762"/>
                      <a:pt x="0" y="1074197"/>
                    </a:cubicBezTo>
                    <a:cubicBezTo>
                      <a:pt x="0" y="1074197"/>
                      <a:pt x="0" y="1074197"/>
                      <a:pt x="0" y="16416"/>
                    </a:cubicBezTo>
                    <a:cubicBezTo>
                      <a:pt x="0" y="7851"/>
                      <a:pt x="8565" y="0"/>
                      <a:pt x="1927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6" name="Freeform 54">
                <a:extLst>
                  <a:ext uri="{FF2B5EF4-FFF2-40B4-BE49-F238E27FC236}">
                    <a16:creationId xmlns:a16="http://schemas.microsoft.com/office/drawing/2014/main" id="{83EB1739-996E-5541-9990-A76081E95B81}"/>
                  </a:ext>
                </a:extLst>
              </p:cNvPr>
              <p:cNvSpPr>
                <a:spLocks noEditPoints="1"/>
              </p:cNvSpPr>
              <p:nvPr/>
            </p:nvSpPr>
            <p:spPr bwMode="auto">
              <a:xfrm>
                <a:off x="5607050" y="3152775"/>
                <a:ext cx="979488" cy="536575"/>
              </a:xfrm>
              <a:custGeom>
                <a:avLst/>
                <a:gdLst>
                  <a:gd name="T0" fmla="*/ 170 w 1372"/>
                  <a:gd name="T1" fmla="*/ 412 h 753"/>
                  <a:gd name="T2" fmla="*/ 192 w 1372"/>
                  <a:gd name="T3" fmla="*/ 413 h 753"/>
                  <a:gd name="T4" fmla="*/ 341 w 1372"/>
                  <a:gd name="T5" fmla="*/ 583 h 753"/>
                  <a:gd name="T6" fmla="*/ 192 w 1372"/>
                  <a:gd name="T7" fmla="*/ 751 h 753"/>
                  <a:gd name="T8" fmla="*/ 170 w 1372"/>
                  <a:gd name="T9" fmla="*/ 753 h 753"/>
                  <a:gd name="T10" fmla="*/ 148 w 1372"/>
                  <a:gd name="T11" fmla="*/ 751 h 753"/>
                  <a:gd name="T12" fmla="*/ 0 w 1372"/>
                  <a:gd name="T13" fmla="*/ 583 h 753"/>
                  <a:gd name="T14" fmla="*/ 148 w 1372"/>
                  <a:gd name="T15" fmla="*/ 413 h 753"/>
                  <a:gd name="T16" fmla="*/ 170 w 1372"/>
                  <a:gd name="T17" fmla="*/ 412 h 753"/>
                  <a:gd name="T18" fmla="*/ 1202 w 1372"/>
                  <a:gd name="T19" fmla="*/ 219 h 753"/>
                  <a:gd name="T20" fmla="*/ 1224 w 1372"/>
                  <a:gd name="T21" fmla="*/ 221 h 753"/>
                  <a:gd name="T22" fmla="*/ 1372 w 1372"/>
                  <a:gd name="T23" fmla="*/ 389 h 753"/>
                  <a:gd name="T24" fmla="*/ 1202 w 1372"/>
                  <a:gd name="T25" fmla="*/ 560 h 753"/>
                  <a:gd name="T26" fmla="*/ 1031 w 1372"/>
                  <a:gd name="T27" fmla="*/ 389 h 753"/>
                  <a:gd name="T28" fmla="*/ 1180 w 1372"/>
                  <a:gd name="T29" fmla="*/ 221 h 753"/>
                  <a:gd name="T30" fmla="*/ 1202 w 1372"/>
                  <a:gd name="T31" fmla="*/ 219 h 753"/>
                  <a:gd name="T32" fmla="*/ 684 w 1372"/>
                  <a:gd name="T33" fmla="*/ 0 h 753"/>
                  <a:gd name="T34" fmla="*/ 706 w 1372"/>
                  <a:gd name="T35" fmla="*/ 2 h 753"/>
                  <a:gd name="T36" fmla="*/ 855 w 1372"/>
                  <a:gd name="T37" fmla="*/ 170 h 753"/>
                  <a:gd name="T38" fmla="*/ 706 w 1372"/>
                  <a:gd name="T39" fmla="*/ 339 h 753"/>
                  <a:gd name="T40" fmla="*/ 684 w 1372"/>
                  <a:gd name="T41" fmla="*/ 340 h 753"/>
                  <a:gd name="T42" fmla="*/ 662 w 1372"/>
                  <a:gd name="T43" fmla="*/ 339 h 753"/>
                  <a:gd name="T44" fmla="*/ 514 w 1372"/>
                  <a:gd name="T45" fmla="*/ 170 h 753"/>
                  <a:gd name="T46" fmla="*/ 662 w 1372"/>
                  <a:gd name="T47" fmla="*/ 2 h 753"/>
                  <a:gd name="T48" fmla="*/ 684 w 1372"/>
                  <a:gd name="T49" fmla="*/ 0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2" h="753">
                    <a:moveTo>
                      <a:pt x="170" y="412"/>
                    </a:moveTo>
                    <a:cubicBezTo>
                      <a:pt x="178" y="412"/>
                      <a:pt x="185" y="412"/>
                      <a:pt x="192" y="413"/>
                    </a:cubicBezTo>
                    <a:cubicBezTo>
                      <a:pt x="277" y="424"/>
                      <a:pt x="341" y="495"/>
                      <a:pt x="341" y="583"/>
                    </a:cubicBezTo>
                    <a:cubicBezTo>
                      <a:pt x="341" y="669"/>
                      <a:pt x="277" y="740"/>
                      <a:pt x="192" y="751"/>
                    </a:cubicBezTo>
                    <a:cubicBezTo>
                      <a:pt x="185" y="752"/>
                      <a:pt x="178" y="753"/>
                      <a:pt x="170" y="753"/>
                    </a:cubicBezTo>
                    <a:cubicBezTo>
                      <a:pt x="163" y="753"/>
                      <a:pt x="155" y="752"/>
                      <a:pt x="148" y="751"/>
                    </a:cubicBezTo>
                    <a:cubicBezTo>
                      <a:pt x="65" y="740"/>
                      <a:pt x="0" y="669"/>
                      <a:pt x="0" y="583"/>
                    </a:cubicBezTo>
                    <a:cubicBezTo>
                      <a:pt x="0" y="495"/>
                      <a:pt x="65" y="424"/>
                      <a:pt x="148" y="413"/>
                    </a:cubicBezTo>
                    <a:cubicBezTo>
                      <a:pt x="155" y="412"/>
                      <a:pt x="163" y="412"/>
                      <a:pt x="170" y="412"/>
                    </a:cubicBezTo>
                    <a:close/>
                    <a:moveTo>
                      <a:pt x="1202" y="219"/>
                    </a:moveTo>
                    <a:cubicBezTo>
                      <a:pt x="1209" y="219"/>
                      <a:pt x="1217" y="220"/>
                      <a:pt x="1224" y="221"/>
                    </a:cubicBezTo>
                    <a:cubicBezTo>
                      <a:pt x="1307" y="232"/>
                      <a:pt x="1372" y="303"/>
                      <a:pt x="1372" y="389"/>
                    </a:cubicBezTo>
                    <a:cubicBezTo>
                      <a:pt x="1372" y="484"/>
                      <a:pt x="1296" y="560"/>
                      <a:pt x="1202" y="560"/>
                    </a:cubicBezTo>
                    <a:cubicBezTo>
                      <a:pt x="1108" y="560"/>
                      <a:pt x="1031" y="484"/>
                      <a:pt x="1031" y="389"/>
                    </a:cubicBezTo>
                    <a:cubicBezTo>
                      <a:pt x="1031" y="303"/>
                      <a:pt x="1096" y="232"/>
                      <a:pt x="1180" y="221"/>
                    </a:cubicBezTo>
                    <a:cubicBezTo>
                      <a:pt x="1187" y="220"/>
                      <a:pt x="1194" y="219"/>
                      <a:pt x="1202" y="219"/>
                    </a:cubicBezTo>
                    <a:close/>
                    <a:moveTo>
                      <a:pt x="684" y="0"/>
                    </a:moveTo>
                    <a:cubicBezTo>
                      <a:pt x="691" y="0"/>
                      <a:pt x="699" y="1"/>
                      <a:pt x="706" y="2"/>
                    </a:cubicBezTo>
                    <a:cubicBezTo>
                      <a:pt x="790" y="12"/>
                      <a:pt x="855" y="84"/>
                      <a:pt x="855" y="170"/>
                    </a:cubicBezTo>
                    <a:cubicBezTo>
                      <a:pt x="855" y="257"/>
                      <a:pt x="790" y="328"/>
                      <a:pt x="706" y="339"/>
                    </a:cubicBezTo>
                    <a:cubicBezTo>
                      <a:pt x="699" y="340"/>
                      <a:pt x="691" y="340"/>
                      <a:pt x="684" y="340"/>
                    </a:cubicBezTo>
                    <a:cubicBezTo>
                      <a:pt x="676" y="340"/>
                      <a:pt x="669" y="340"/>
                      <a:pt x="662" y="339"/>
                    </a:cubicBezTo>
                    <a:cubicBezTo>
                      <a:pt x="578" y="328"/>
                      <a:pt x="514" y="257"/>
                      <a:pt x="514" y="170"/>
                    </a:cubicBezTo>
                    <a:cubicBezTo>
                      <a:pt x="514" y="84"/>
                      <a:pt x="578" y="12"/>
                      <a:pt x="662" y="2"/>
                    </a:cubicBezTo>
                    <a:cubicBezTo>
                      <a:pt x="669" y="1"/>
                      <a:pt x="676" y="0"/>
                      <a:pt x="68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858688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32280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54"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fr-FR" dirty="0"/>
              <a:t>Prérequis techniques pour aborder le cas</a:t>
            </a:r>
          </a:p>
        </p:txBody>
      </p:sp>
      <p:sp>
        <p:nvSpPr>
          <p:cNvPr id="3" name="Content Placeholder 2"/>
          <p:cNvSpPr>
            <a:spLocks noGrp="1"/>
          </p:cNvSpPr>
          <p:nvPr>
            <p:ph type="body" sz="quarter" idx="10"/>
          </p:nvPr>
        </p:nvSpPr>
        <p:spPr>
          <a:xfrm>
            <a:off x="629399" y="1540879"/>
            <a:ext cx="10933801" cy="4089131"/>
          </a:xfrm>
        </p:spPr>
        <p:txBody>
          <a:bodyPr/>
          <a:lstStyle/>
          <a:p>
            <a:pPr>
              <a:lnSpc>
                <a:spcPct val="100000"/>
              </a:lnSpc>
              <a:spcBef>
                <a:spcPts val="0"/>
              </a:spcBef>
              <a:spcAft>
                <a:spcPts val="0"/>
              </a:spcAft>
              <a:buSzPct val="100000"/>
              <a:buFont typeface="Trebuchet MS" panose="020B0603020202020204" pitchFamily="34" charset="0"/>
              <a:buChar char="​"/>
            </a:pPr>
            <a:r>
              <a:rPr lang="fr-FR" sz="1600" b="1" dirty="0">
                <a:solidFill>
                  <a:schemeClr val="tx1">
                    <a:lumMod val="100000"/>
                  </a:schemeClr>
                </a:solidFill>
                <a:latin typeface="Trebuchet MS" panose="020B0603020202020204" pitchFamily="34" charset="0"/>
              </a:rPr>
              <a:t>Manipulation de données simples en Python / R</a:t>
            </a:r>
          </a:p>
          <a:p>
            <a:pPr marL="324000" lvl="1" indent="-216000">
              <a:lnSpc>
                <a:spcPct val="100000"/>
              </a:lnSpc>
              <a:spcAft>
                <a:spcPts val="0"/>
              </a:spcAft>
              <a:buClr>
                <a:schemeClr val="tx2">
                  <a:lumMod val="100000"/>
                </a:schemeClr>
              </a:buClr>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Calcul de statistiques descriptives sur de grosses données</a:t>
            </a:r>
          </a:p>
          <a:p>
            <a:pPr marL="324000" lvl="1" indent="-216000">
              <a:lnSpc>
                <a:spcPct val="100000"/>
              </a:lnSpc>
              <a:spcAft>
                <a:spcPts val="0"/>
              </a:spcAft>
              <a:buClr>
                <a:schemeClr val="tx2">
                  <a:lumMod val="100000"/>
                </a:schemeClr>
              </a:buClr>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Techniques de </a:t>
            </a:r>
            <a:r>
              <a:rPr lang="fr-FR" sz="1600" dirty="0" err="1">
                <a:solidFill>
                  <a:schemeClr val="tx1">
                    <a:lumMod val="100000"/>
                  </a:schemeClr>
                </a:solidFill>
                <a:latin typeface="Trebuchet MS" panose="020B0603020202020204" pitchFamily="34" charset="0"/>
              </a:rPr>
              <a:t>dataviz</a:t>
            </a:r>
            <a:r>
              <a:rPr lang="fr-FR" sz="1600" dirty="0">
                <a:solidFill>
                  <a:schemeClr val="tx1">
                    <a:lumMod val="100000"/>
                  </a:schemeClr>
                </a:solidFill>
                <a:latin typeface="Trebuchet MS" panose="020B0603020202020204" pitchFamily="34" charset="0"/>
              </a:rPr>
              <a:t> élémentaires (Package Python </a:t>
            </a:r>
            <a:r>
              <a:rPr lang="fr-FR" sz="1600" dirty="0" err="1">
                <a:solidFill>
                  <a:schemeClr val="tx1">
                    <a:lumMod val="100000"/>
                  </a:schemeClr>
                </a:solidFill>
                <a:latin typeface="Trebuchet MS" panose="020B0603020202020204" pitchFamily="34" charset="0"/>
              </a:rPr>
              <a:t>Matplotlib</a:t>
            </a:r>
            <a:r>
              <a:rPr lang="fr-FR" sz="1600" dirty="0">
                <a:solidFill>
                  <a:schemeClr val="tx1">
                    <a:lumMod val="100000"/>
                  </a:schemeClr>
                </a:solidFill>
                <a:latin typeface="Trebuchet MS" panose="020B0603020202020204" pitchFamily="34" charset="0"/>
              </a:rPr>
              <a:t> ou autres, Tableau, etc…)	</a:t>
            </a:r>
          </a:p>
          <a:p>
            <a:pPr>
              <a:lnSpc>
                <a:spcPct val="100000"/>
              </a:lnSpc>
              <a:spcBef>
                <a:spcPts val="0"/>
              </a:spcBef>
              <a:spcAft>
                <a:spcPts val="0"/>
              </a:spcAft>
              <a:buSzPct val="100000"/>
              <a:buFont typeface="Trebuchet MS" panose="020B0603020202020204" pitchFamily="34" charset="0"/>
              <a:buChar char="​"/>
            </a:pPr>
            <a:endParaRPr lang="fr-FR" sz="1600" dirty="0">
              <a:solidFill>
                <a:schemeClr val="tx1">
                  <a:lumMod val="100000"/>
                </a:schemeClr>
              </a:solidFill>
              <a:latin typeface="Trebuchet MS" panose="020B0603020202020204" pitchFamily="34" charset="0"/>
            </a:endParaRPr>
          </a:p>
          <a:p>
            <a:pPr>
              <a:lnSpc>
                <a:spcPct val="100000"/>
              </a:lnSpc>
              <a:spcBef>
                <a:spcPts val="0"/>
              </a:spcBef>
              <a:spcAft>
                <a:spcPts val="0"/>
              </a:spcAft>
              <a:buSzPct val="100000"/>
              <a:buFont typeface="Trebuchet MS" panose="020B0603020202020204" pitchFamily="34" charset="0"/>
              <a:buChar char="​"/>
            </a:pPr>
            <a:r>
              <a:rPr lang="fr-FR" sz="1600" b="1" dirty="0">
                <a:solidFill>
                  <a:schemeClr val="tx1">
                    <a:lumMod val="100000"/>
                  </a:schemeClr>
                </a:solidFill>
                <a:latin typeface="Trebuchet MS" panose="020B0603020202020204" pitchFamily="34" charset="0"/>
              </a:rPr>
              <a:t>Modèles classiques de machine </a:t>
            </a:r>
            <a:r>
              <a:rPr lang="fr-FR" sz="1600" b="1" dirty="0" err="1">
                <a:solidFill>
                  <a:schemeClr val="tx1">
                    <a:lumMod val="100000"/>
                  </a:schemeClr>
                </a:solidFill>
                <a:latin typeface="Trebuchet MS" panose="020B0603020202020204" pitchFamily="34" charset="0"/>
              </a:rPr>
              <a:t>learning</a:t>
            </a:r>
            <a:endParaRPr lang="fr-FR" sz="1600" b="1" dirty="0">
              <a:solidFill>
                <a:schemeClr val="tx1">
                  <a:lumMod val="100000"/>
                </a:schemeClr>
              </a:solidFill>
              <a:latin typeface="Trebuchet MS" panose="020B0603020202020204" pitchFamily="34" charset="0"/>
            </a:endParaRPr>
          </a:p>
          <a:p>
            <a:pPr marL="324000" lvl="1" indent="-216000">
              <a:lnSpc>
                <a:spcPct val="100000"/>
              </a:lnSpc>
              <a:spcAft>
                <a:spcPts val="0"/>
              </a:spcAft>
              <a:buClr>
                <a:schemeClr val="tx2">
                  <a:lumMod val="100000"/>
                </a:schemeClr>
              </a:buClr>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Connaissance des algorithmes de base (régression logistique, </a:t>
            </a:r>
            <a:r>
              <a:rPr lang="fr-FR" sz="1600" dirty="0" err="1">
                <a:solidFill>
                  <a:schemeClr val="tx1">
                    <a:lumMod val="100000"/>
                  </a:schemeClr>
                </a:solidFill>
                <a:latin typeface="Trebuchet MS" panose="020B0603020202020204" pitchFamily="34" charset="0"/>
              </a:rPr>
              <a:t>random</a:t>
            </a:r>
            <a:r>
              <a:rPr lang="fr-FR" sz="1600" dirty="0">
                <a:solidFill>
                  <a:schemeClr val="tx1">
                    <a:lumMod val="100000"/>
                  </a:schemeClr>
                </a:solidFill>
                <a:latin typeface="Trebuchet MS" panose="020B0603020202020204" pitchFamily="34" charset="0"/>
              </a:rPr>
              <a:t> </a:t>
            </a:r>
            <a:r>
              <a:rPr lang="fr-FR" sz="1600" dirty="0" err="1">
                <a:solidFill>
                  <a:schemeClr val="tx1">
                    <a:lumMod val="100000"/>
                  </a:schemeClr>
                </a:solidFill>
                <a:latin typeface="Trebuchet MS" panose="020B0603020202020204" pitchFamily="34" charset="0"/>
              </a:rPr>
              <a:t>forests</a:t>
            </a:r>
            <a:r>
              <a:rPr lang="fr-FR" sz="1600" dirty="0">
                <a:solidFill>
                  <a:schemeClr val="tx1">
                    <a:lumMod val="100000"/>
                  </a:schemeClr>
                </a:solidFill>
                <a:latin typeface="Trebuchet MS" panose="020B0603020202020204" pitchFamily="34" charset="0"/>
              </a:rPr>
              <a:t>…)</a:t>
            </a:r>
          </a:p>
          <a:p>
            <a:pPr marL="324000" lvl="1" indent="-216000">
              <a:lnSpc>
                <a:spcPct val="100000"/>
              </a:lnSpc>
              <a:spcAft>
                <a:spcPts val="0"/>
              </a:spcAft>
              <a:buClr>
                <a:schemeClr val="tx2">
                  <a:lumMod val="100000"/>
                </a:schemeClr>
              </a:buClr>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Utilisation de </a:t>
            </a:r>
            <a:r>
              <a:rPr lang="fr-FR" sz="1600" dirty="0" err="1">
                <a:solidFill>
                  <a:schemeClr val="tx1">
                    <a:lumMod val="100000"/>
                  </a:schemeClr>
                </a:solidFill>
                <a:latin typeface="Trebuchet MS" panose="020B0603020202020204" pitchFamily="34" charset="0"/>
              </a:rPr>
              <a:t>scikit-learn</a:t>
            </a:r>
            <a:r>
              <a:rPr lang="fr-FR" sz="1600" dirty="0">
                <a:solidFill>
                  <a:schemeClr val="tx1">
                    <a:lumMod val="100000"/>
                  </a:schemeClr>
                </a:solidFill>
                <a:latin typeface="Trebuchet MS" panose="020B0603020202020204" pitchFamily="34" charset="0"/>
              </a:rPr>
              <a:t> ou équivalents</a:t>
            </a:r>
          </a:p>
          <a:p>
            <a:pPr marL="324000" lvl="1" indent="-216000">
              <a:lnSpc>
                <a:spcPct val="100000"/>
              </a:lnSpc>
              <a:spcAft>
                <a:spcPts val="0"/>
              </a:spcAft>
              <a:buClr>
                <a:schemeClr val="tx2">
                  <a:lumMod val="100000"/>
                </a:schemeClr>
              </a:buClr>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Maîtrise des métriques de validation des modèles</a:t>
            </a:r>
          </a:p>
          <a:p>
            <a:pPr>
              <a:lnSpc>
                <a:spcPct val="100000"/>
              </a:lnSpc>
              <a:spcBef>
                <a:spcPts val="0"/>
              </a:spcBef>
              <a:spcAft>
                <a:spcPts val="0"/>
              </a:spcAft>
              <a:buSzPct val="100000"/>
              <a:buFont typeface="Trebuchet MS" panose="020B0603020202020204" pitchFamily="34" charset="0"/>
              <a:buChar char="​"/>
            </a:pPr>
            <a:endParaRPr lang="fr-FR" sz="1600" dirty="0">
              <a:solidFill>
                <a:schemeClr val="tx1">
                  <a:lumMod val="100000"/>
                </a:schemeClr>
              </a:solidFill>
              <a:latin typeface="Trebuchet MS" panose="020B0603020202020204" pitchFamily="34" charset="0"/>
            </a:endParaRPr>
          </a:p>
          <a:p>
            <a:pPr>
              <a:lnSpc>
                <a:spcPct val="100000"/>
              </a:lnSpc>
              <a:spcBef>
                <a:spcPts val="0"/>
              </a:spcBef>
              <a:spcAft>
                <a:spcPts val="0"/>
              </a:spcAft>
              <a:buSzPct val="100000"/>
              <a:buFont typeface="Trebuchet MS" panose="020B0603020202020204" pitchFamily="34" charset="0"/>
              <a:buChar char="​"/>
            </a:pPr>
            <a:r>
              <a:rPr lang="fr-FR" sz="1600" b="1" dirty="0">
                <a:solidFill>
                  <a:schemeClr val="tx1">
                    <a:lumMod val="100000"/>
                  </a:schemeClr>
                </a:solidFill>
                <a:latin typeface="Trebuchet MS" panose="020B0603020202020204" pitchFamily="34" charset="0"/>
              </a:rPr>
              <a:t>Des lectures sur Python pour se mettre dans le bain</a:t>
            </a:r>
          </a:p>
          <a:p>
            <a:pPr marL="324000" lvl="1" indent="-216000">
              <a:buClr>
                <a:schemeClr val="tx2">
                  <a:lumMod val="100000"/>
                </a:schemeClr>
              </a:buClr>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Python Data Science </a:t>
            </a:r>
            <a:r>
              <a:rPr lang="fr-FR" sz="1600" dirty="0" err="1">
                <a:solidFill>
                  <a:schemeClr val="tx1">
                    <a:lumMod val="100000"/>
                  </a:schemeClr>
                </a:solidFill>
                <a:latin typeface="Trebuchet MS" panose="020B0603020202020204" pitchFamily="34" charset="0"/>
              </a:rPr>
              <a:t>Handbook</a:t>
            </a:r>
            <a:r>
              <a:rPr lang="fr-FR" sz="1600" dirty="0">
                <a:solidFill>
                  <a:schemeClr val="tx1">
                    <a:lumMod val="100000"/>
                  </a:schemeClr>
                </a:solidFill>
                <a:latin typeface="Trebuchet MS" panose="020B0603020202020204" pitchFamily="34" charset="0"/>
              </a:rPr>
              <a:t> par </a:t>
            </a:r>
            <a:r>
              <a:rPr lang="fr-FR" sz="1600" dirty="0" err="1">
                <a:solidFill>
                  <a:schemeClr val="tx1">
                    <a:lumMod val="100000"/>
                  </a:schemeClr>
                </a:solidFill>
                <a:latin typeface="Trebuchet MS" panose="020B0603020202020204" pitchFamily="34" charset="0"/>
              </a:rPr>
              <a:t>Jake</a:t>
            </a:r>
            <a:r>
              <a:rPr lang="fr-FR" sz="1600" dirty="0">
                <a:solidFill>
                  <a:schemeClr val="tx1">
                    <a:lumMod val="100000"/>
                  </a:schemeClr>
                </a:solidFill>
                <a:latin typeface="Trebuchet MS" panose="020B0603020202020204" pitchFamily="34" charset="0"/>
              </a:rPr>
              <a:t> Vanderplas: </a:t>
            </a:r>
            <a:r>
              <a:rPr lang="fr-FR" sz="1600" dirty="0">
                <a:solidFill>
                  <a:schemeClr val="tx1">
                    <a:lumMod val="100000"/>
                  </a:schemeClr>
                </a:solidFill>
                <a:latin typeface="Trebuchet MS" panose="020B0603020202020204" pitchFamily="34" charset="0"/>
                <a:hlinkClick r:id="rId7"/>
              </a:rPr>
              <a:t>https://jakevdp.github.io/PythonDataScienceHandbook/</a:t>
            </a:r>
            <a:r>
              <a:rPr lang="fr-FR" sz="1600" dirty="0">
                <a:solidFill>
                  <a:schemeClr val="tx1">
                    <a:lumMod val="100000"/>
                  </a:schemeClr>
                </a:solidFill>
                <a:latin typeface="Trebuchet MS" panose="020B0603020202020204" pitchFamily="34" charset="0"/>
              </a:rPr>
              <a:t>  </a:t>
            </a:r>
          </a:p>
          <a:p>
            <a:pPr marL="324000" lvl="1" indent="-216000">
              <a:buClr>
                <a:schemeClr val="tx2">
                  <a:lumMod val="100000"/>
                </a:schemeClr>
              </a:buClr>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Pandas package documentation: </a:t>
            </a:r>
            <a:r>
              <a:rPr lang="fr-FR" sz="1600" dirty="0">
                <a:solidFill>
                  <a:schemeClr val="tx1">
                    <a:lumMod val="100000"/>
                  </a:schemeClr>
                </a:solidFill>
                <a:latin typeface="Trebuchet MS" panose="020B0603020202020204" pitchFamily="34" charset="0"/>
                <a:hlinkClick r:id="rId8"/>
              </a:rPr>
              <a:t>https://pandas.pydata.org</a:t>
            </a:r>
            <a:r>
              <a:rPr lang="fr-FR" sz="1600" dirty="0">
                <a:solidFill>
                  <a:schemeClr val="tx1">
                    <a:lumMod val="100000"/>
                  </a:schemeClr>
                </a:solidFill>
                <a:latin typeface="Trebuchet MS" panose="020B0603020202020204" pitchFamily="34" charset="0"/>
              </a:rPr>
              <a:t>, en particulier </a:t>
            </a:r>
            <a:r>
              <a:rPr lang="fr-FR" sz="1600" dirty="0">
                <a:solidFill>
                  <a:schemeClr val="tx1">
                    <a:lumMod val="100000"/>
                  </a:schemeClr>
                </a:solidFill>
                <a:latin typeface="Trebuchet MS" panose="020B0603020202020204" pitchFamily="34" charset="0"/>
                <a:hlinkClick r:id="rId9"/>
              </a:rPr>
              <a:t>https://pandas.pydata.org/pandas-docs/stable/getting_started/10min.html</a:t>
            </a:r>
            <a:r>
              <a:rPr lang="fr-FR" sz="1600" dirty="0">
                <a:solidFill>
                  <a:schemeClr val="tx1">
                    <a:lumMod val="100000"/>
                  </a:schemeClr>
                </a:solidFill>
                <a:latin typeface="Trebuchet MS" panose="020B0603020202020204" pitchFamily="34" charset="0"/>
              </a:rPr>
              <a:t> pour une introduction</a:t>
            </a:r>
          </a:p>
          <a:p>
            <a:pPr marL="324000" lvl="1" indent="-216000">
              <a:buClr>
                <a:schemeClr val="tx2">
                  <a:lumMod val="100000"/>
                </a:schemeClr>
              </a:buClr>
              <a:buSzPct val="100000"/>
              <a:buFont typeface="Trebuchet MS" panose="020B0603020202020204" pitchFamily="34" charset="0"/>
              <a:buChar char="•"/>
            </a:pPr>
            <a:r>
              <a:rPr lang="fr-FR" sz="1600" dirty="0" err="1">
                <a:solidFill>
                  <a:schemeClr val="tx1">
                    <a:lumMod val="100000"/>
                  </a:schemeClr>
                </a:solidFill>
                <a:latin typeface="Trebuchet MS" panose="020B0603020202020204" pitchFamily="34" charset="0"/>
              </a:rPr>
              <a:t>Scikit-learn</a:t>
            </a:r>
            <a:r>
              <a:rPr lang="fr-FR" sz="1600" dirty="0">
                <a:solidFill>
                  <a:schemeClr val="tx1">
                    <a:lumMod val="100000"/>
                  </a:schemeClr>
                </a:solidFill>
                <a:latin typeface="Trebuchet MS" panose="020B0603020202020204" pitchFamily="34" charset="0"/>
              </a:rPr>
              <a:t> package </a:t>
            </a:r>
            <a:r>
              <a:rPr lang="fr-FR" sz="1600" dirty="0" err="1">
                <a:solidFill>
                  <a:schemeClr val="tx1">
                    <a:lumMod val="100000"/>
                  </a:schemeClr>
                </a:solidFill>
                <a:latin typeface="Trebuchet MS" panose="020B0603020202020204" pitchFamily="34" charset="0"/>
              </a:rPr>
              <a:t>tutorials</a:t>
            </a:r>
            <a:r>
              <a:rPr lang="fr-FR" sz="1600" dirty="0">
                <a:solidFill>
                  <a:schemeClr val="tx1">
                    <a:lumMod val="100000"/>
                  </a:schemeClr>
                </a:solidFill>
                <a:latin typeface="Trebuchet MS" panose="020B0603020202020204" pitchFamily="34" charset="0"/>
              </a:rPr>
              <a:t>: </a:t>
            </a:r>
            <a:r>
              <a:rPr lang="fr-FR" sz="1600" dirty="0">
                <a:solidFill>
                  <a:schemeClr val="tx1">
                    <a:lumMod val="100000"/>
                  </a:schemeClr>
                </a:solidFill>
                <a:latin typeface="Trebuchet MS" panose="020B0603020202020204" pitchFamily="34" charset="0"/>
                <a:hlinkClick r:id="rId10"/>
              </a:rPr>
              <a:t>https://scikit-learn.org/stable/tutorial/index.html</a:t>
            </a:r>
            <a:r>
              <a:rPr lang="fr-FR" sz="1600" dirty="0">
                <a:solidFill>
                  <a:schemeClr val="tx1">
                    <a:lumMod val="100000"/>
                  </a:schemeClr>
                </a:solidFill>
                <a:latin typeface="Trebuchet MS" panose="020B0603020202020204" pitchFamily="34" charset="0"/>
              </a:rPr>
              <a:t> </a:t>
            </a:r>
          </a:p>
          <a:p>
            <a:pPr>
              <a:lnSpc>
                <a:spcPct val="100000"/>
              </a:lnSpc>
              <a:spcBef>
                <a:spcPts val="0"/>
              </a:spcBef>
              <a:spcAft>
                <a:spcPts val="0"/>
              </a:spcAft>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 </a:t>
            </a:r>
          </a:p>
          <a:p>
            <a:pPr>
              <a:lnSpc>
                <a:spcPct val="100000"/>
              </a:lnSpc>
              <a:spcBef>
                <a:spcPts val="0"/>
              </a:spcBef>
              <a:spcAft>
                <a:spcPts val="0"/>
              </a:spcAft>
              <a:buSzPct val="100000"/>
              <a:buFont typeface="Trebuchet MS" panose="020B0603020202020204" pitchFamily="34" charset="0"/>
              <a:buChar char="​"/>
            </a:pPr>
            <a:r>
              <a:rPr lang="fr-FR" sz="1600" dirty="0">
                <a:solidFill>
                  <a:schemeClr val="tx1">
                    <a:lumMod val="100000"/>
                  </a:schemeClr>
                </a:solidFill>
                <a:latin typeface="Trebuchet MS" panose="020B0603020202020204" pitchFamily="34" charset="0"/>
              </a:rPr>
              <a:t> </a:t>
            </a:r>
          </a:p>
        </p:txBody>
      </p:sp>
    </p:spTree>
    <p:extLst>
      <p:ext uri="{BB962C8B-B14F-4D97-AF65-F5344CB8AC3E}">
        <p14:creationId xmlns:p14="http://schemas.microsoft.com/office/powerpoint/2010/main" val="832069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00EB8F9-597A-524A-A629-E943DC398585}"/>
              </a:ext>
            </a:extLst>
          </p:cNvPr>
          <p:cNvGraphicFramePr>
            <a:graphicFrameLocks noChangeAspect="1"/>
          </p:cNvGraphicFramePr>
          <p:nvPr>
            <p:custDataLst>
              <p:tags r:id="rId3"/>
            </p:custDataLst>
            <p:extLst>
              <p:ext uri="{D42A27DB-BD31-4B8C-83A1-F6EECF244321}">
                <p14:modId xmlns:p14="http://schemas.microsoft.com/office/powerpoint/2010/main" val="23785560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2820" name="think-cell Slide" r:id="rId6" imgW="7772400" imgH="10058400" progId="TCLayout.ActiveDocument.1">
                  <p:embed/>
                </p:oleObj>
              </mc:Choice>
              <mc:Fallback>
                <p:oleObj name="think-cell Slide" r:id="rId6" imgW="7772400" imgH="10058400" progId="TCLayout.ActiveDocument.1">
                  <p:embed/>
                  <p:pic>
                    <p:nvPicPr>
                      <p:cNvPr id="0" name=""/>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Qui </a:t>
            </a:r>
            <a:r>
              <a:rPr lang="en-US" dirty="0" err="1"/>
              <a:t>sommes</a:t>
            </a:r>
            <a:r>
              <a:rPr lang="en-US" dirty="0"/>
              <a:t>-nous?</a:t>
            </a:r>
          </a:p>
        </p:txBody>
      </p:sp>
      <p:pic>
        <p:nvPicPr>
          <p:cNvPr id="12" name="Picture 25">
            <a:extLst>
              <a:ext uri="{FF2B5EF4-FFF2-40B4-BE49-F238E27FC236}">
                <a16:creationId xmlns:a16="http://schemas.microsoft.com/office/drawing/2014/main" id="{63F46DC0-50D7-5547-B19F-A635213464E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00" r="2000"/>
          <a:stretch/>
        </p:blipFill>
        <p:spPr bwMode="auto">
          <a:xfrm>
            <a:off x="4340027" y="1874276"/>
            <a:ext cx="1042988" cy="1042988"/>
          </a:xfrm>
          <a:prstGeom prst="ellipse">
            <a:avLst/>
          </a:prstGeom>
          <a:grpFill/>
          <a:ln w="38100">
            <a:gradFill flip="none" rotWithShape="1">
              <a:gsLst>
                <a:gs pos="0">
                  <a:schemeClr val="accent2"/>
                </a:gs>
                <a:gs pos="100000">
                  <a:schemeClr val="tx2"/>
                </a:gs>
              </a:gsLst>
              <a:lin ang="2700000" scaled="1"/>
              <a:tileRect/>
            </a:gradFill>
          </a:ln>
        </p:spPr>
      </p:pic>
      <p:pic>
        <p:nvPicPr>
          <p:cNvPr id="15" name="Picture 14">
            <a:extLst>
              <a:ext uri="{FF2B5EF4-FFF2-40B4-BE49-F238E27FC236}">
                <a16:creationId xmlns:a16="http://schemas.microsoft.com/office/drawing/2014/main" id="{882C29FE-9854-E144-94C7-89B5E3CC7AC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23028" y="1886128"/>
            <a:ext cx="1042988" cy="1019283"/>
          </a:xfrm>
          <a:prstGeom prst="ellipse">
            <a:avLst/>
          </a:prstGeom>
          <a:grpFill/>
          <a:ln w="38100">
            <a:gradFill flip="none" rotWithShape="1">
              <a:gsLst>
                <a:gs pos="0">
                  <a:schemeClr val="accent2"/>
                </a:gs>
                <a:gs pos="100000">
                  <a:schemeClr val="tx2"/>
                </a:gs>
              </a:gsLst>
              <a:lin ang="2700000" scaled="1"/>
              <a:tileRect/>
            </a:gradFill>
          </a:ln>
        </p:spPr>
      </p:pic>
      <p:sp>
        <p:nvSpPr>
          <p:cNvPr id="18" name="TextBox 14">
            <a:extLst>
              <a:ext uri="{FF2B5EF4-FFF2-40B4-BE49-F238E27FC236}">
                <a16:creationId xmlns:a16="http://schemas.microsoft.com/office/drawing/2014/main" id="{7A678EC5-BF5E-EC49-B595-9E6F08BA217A}"/>
              </a:ext>
            </a:extLst>
          </p:cNvPr>
          <p:cNvSpPr txBox="1"/>
          <p:nvPr/>
        </p:nvSpPr>
        <p:spPr>
          <a:xfrm>
            <a:off x="2539308" y="1874277"/>
            <a:ext cx="1749594" cy="1042987"/>
          </a:xfrm>
          <a:prstGeom prst="rect">
            <a:avLst/>
          </a:prstGeom>
          <a:no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dirty="0">
                <a:solidFill>
                  <a:schemeClr val="tx2"/>
                </a:solidFill>
              </a:rPr>
              <a:t>Julien Fissette</a:t>
            </a:r>
          </a:p>
          <a:p>
            <a:r>
              <a:rPr lang="fr-FR" sz="1400" dirty="0">
                <a:solidFill>
                  <a:srgbClr val="575757"/>
                </a:solidFill>
              </a:rPr>
              <a:t>Lead Data </a:t>
            </a:r>
            <a:r>
              <a:rPr lang="fr-FR" sz="1400" dirty="0" err="1">
                <a:solidFill>
                  <a:srgbClr val="575757"/>
                </a:solidFill>
              </a:rPr>
              <a:t>Scientist</a:t>
            </a:r>
            <a:endParaRPr lang="fr-FR" sz="1400" dirty="0">
              <a:solidFill>
                <a:srgbClr val="575757"/>
              </a:solidFill>
            </a:endParaRPr>
          </a:p>
          <a:p>
            <a:r>
              <a:rPr lang="fr-FR" sz="1400" dirty="0">
                <a:solidFill>
                  <a:srgbClr val="575757"/>
                </a:solidFill>
              </a:rPr>
              <a:t>Campus Manager</a:t>
            </a:r>
          </a:p>
        </p:txBody>
      </p:sp>
      <p:sp>
        <p:nvSpPr>
          <p:cNvPr id="19" name="TextBox 15">
            <a:extLst>
              <a:ext uri="{FF2B5EF4-FFF2-40B4-BE49-F238E27FC236}">
                <a16:creationId xmlns:a16="http://schemas.microsoft.com/office/drawing/2014/main" id="{03627AEE-FFD5-3F4B-9A95-0C2B4DBD305B}"/>
              </a:ext>
            </a:extLst>
          </p:cNvPr>
          <p:cNvSpPr txBox="1"/>
          <p:nvPr/>
        </p:nvSpPr>
        <p:spPr>
          <a:xfrm>
            <a:off x="5434143" y="1964128"/>
            <a:ext cx="1749594" cy="863283"/>
          </a:xfrm>
          <a:prstGeom prst="rect">
            <a:avLst/>
          </a:prstGeom>
          <a:no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dirty="0">
                <a:solidFill>
                  <a:schemeClr val="tx2"/>
                </a:solidFill>
              </a:rPr>
              <a:t>Henri Viguier</a:t>
            </a:r>
          </a:p>
          <a:p>
            <a:pPr>
              <a:spcBef>
                <a:spcPts val="0"/>
              </a:spcBef>
              <a:spcAft>
                <a:spcPts val="0"/>
              </a:spcAft>
              <a:buNone/>
            </a:pPr>
            <a:r>
              <a:rPr lang="fr-FR" sz="1400" dirty="0">
                <a:solidFill>
                  <a:srgbClr val="575757"/>
                </a:solidFill>
              </a:rPr>
              <a:t>Senior Data </a:t>
            </a:r>
            <a:r>
              <a:rPr lang="fr-FR" sz="1400" dirty="0" err="1">
                <a:solidFill>
                  <a:srgbClr val="575757"/>
                </a:solidFill>
              </a:rPr>
              <a:t>Scientist</a:t>
            </a:r>
            <a:endParaRPr lang="fr-FR" sz="1400" dirty="0">
              <a:solidFill>
                <a:srgbClr val="575757"/>
              </a:solidFill>
            </a:endParaRPr>
          </a:p>
          <a:p>
            <a:pPr>
              <a:spcBef>
                <a:spcPts val="0"/>
              </a:spcBef>
              <a:spcAft>
                <a:spcPts val="0"/>
              </a:spcAft>
              <a:buNone/>
            </a:pPr>
            <a:endParaRPr lang="fr-FR" sz="1400" dirty="0">
              <a:solidFill>
                <a:schemeClr val="accent5">
                  <a:lumMod val="60000"/>
                  <a:lumOff val="40000"/>
                </a:schemeClr>
              </a:solidFill>
            </a:endParaRPr>
          </a:p>
        </p:txBody>
      </p:sp>
      <p:sp>
        <p:nvSpPr>
          <p:cNvPr id="20" name="TextBox 18">
            <a:extLst>
              <a:ext uri="{FF2B5EF4-FFF2-40B4-BE49-F238E27FC236}">
                <a16:creationId xmlns:a16="http://schemas.microsoft.com/office/drawing/2014/main" id="{A1014E50-09EA-5540-BB09-DCE556049841}"/>
              </a:ext>
            </a:extLst>
          </p:cNvPr>
          <p:cNvSpPr txBox="1"/>
          <p:nvPr/>
        </p:nvSpPr>
        <p:spPr>
          <a:xfrm>
            <a:off x="8423314" y="1964128"/>
            <a:ext cx="1749594" cy="863283"/>
          </a:xfrm>
          <a:prstGeom prst="rect">
            <a:avLst/>
          </a:prstGeom>
          <a:no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dirty="0">
                <a:solidFill>
                  <a:schemeClr val="tx2"/>
                </a:solidFill>
              </a:rPr>
              <a:t>Emeline Allard</a:t>
            </a:r>
          </a:p>
          <a:p>
            <a:r>
              <a:rPr lang="fr-FR" sz="1400" dirty="0" err="1">
                <a:solidFill>
                  <a:srgbClr val="575757"/>
                </a:solidFill>
              </a:rPr>
              <a:t>WESA</a:t>
            </a:r>
            <a:r>
              <a:rPr lang="fr-FR" sz="1400" dirty="0">
                <a:solidFill>
                  <a:srgbClr val="575757"/>
                </a:solidFill>
              </a:rPr>
              <a:t> Recruiting Lead</a:t>
            </a:r>
          </a:p>
          <a:p>
            <a:endParaRPr lang="fr-FR" sz="1400" dirty="0" err="1">
              <a:solidFill>
                <a:schemeClr val="accent5">
                  <a:lumMod val="60000"/>
                  <a:lumOff val="40000"/>
                </a:schemeClr>
              </a:solidFill>
            </a:endParaRPr>
          </a:p>
        </p:txBody>
      </p:sp>
      <p:sp>
        <p:nvSpPr>
          <p:cNvPr id="21" name="TextBox 16">
            <a:extLst>
              <a:ext uri="{FF2B5EF4-FFF2-40B4-BE49-F238E27FC236}">
                <a16:creationId xmlns:a16="http://schemas.microsoft.com/office/drawing/2014/main" id="{90C4D6B9-3C9D-604E-9230-391FFF7C513F}"/>
              </a:ext>
            </a:extLst>
          </p:cNvPr>
          <p:cNvSpPr txBox="1"/>
          <p:nvPr/>
        </p:nvSpPr>
        <p:spPr>
          <a:xfrm>
            <a:off x="2539308" y="4900368"/>
            <a:ext cx="1749594" cy="863283"/>
          </a:xfrm>
          <a:prstGeom prst="rect">
            <a:avLst/>
          </a:prstGeom>
          <a:no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dirty="0">
                <a:solidFill>
                  <a:schemeClr val="tx2"/>
                </a:solidFill>
              </a:rPr>
              <a:t>Erwan de </a:t>
            </a:r>
            <a:r>
              <a:rPr lang="fr-FR" dirty="0" err="1">
                <a:solidFill>
                  <a:schemeClr val="tx2"/>
                </a:solidFill>
              </a:rPr>
              <a:t>Kergaradec</a:t>
            </a:r>
            <a:endParaRPr lang="fr-FR" dirty="0">
              <a:solidFill>
                <a:schemeClr val="tx2"/>
              </a:solidFill>
            </a:endParaRPr>
          </a:p>
          <a:p>
            <a:r>
              <a:rPr lang="fr-FR" sz="1400" dirty="0">
                <a:solidFill>
                  <a:srgbClr val="575757"/>
                </a:solidFill>
              </a:rPr>
              <a:t>Data </a:t>
            </a:r>
            <a:r>
              <a:rPr lang="fr-FR" sz="1400" dirty="0" err="1">
                <a:solidFill>
                  <a:srgbClr val="575757"/>
                </a:solidFill>
              </a:rPr>
              <a:t>Scientist</a:t>
            </a:r>
            <a:endParaRPr lang="fr-FR" sz="1400" dirty="0">
              <a:solidFill>
                <a:srgbClr val="575757"/>
              </a:solidFill>
            </a:endParaRPr>
          </a:p>
        </p:txBody>
      </p:sp>
      <p:sp>
        <p:nvSpPr>
          <p:cNvPr id="22" name="TextBox 16">
            <a:extLst>
              <a:ext uri="{FF2B5EF4-FFF2-40B4-BE49-F238E27FC236}">
                <a16:creationId xmlns:a16="http://schemas.microsoft.com/office/drawing/2014/main" id="{054A6AE1-E09A-DC4B-8FB4-76104A23A320}"/>
              </a:ext>
            </a:extLst>
          </p:cNvPr>
          <p:cNvSpPr txBox="1"/>
          <p:nvPr/>
        </p:nvSpPr>
        <p:spPr>
          <a:xfrm>
            <a:off x="5434143" y="4900368"/>
            <a:ext cx="1749594" cy="863283"/>
          </a:xfrm>
          <a:prstGeom prst="rect">
            <a:avLst/>
          </a:prstGeom>
          <a:noFill/>
          <a:ln>
            <a:noFill/>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fr-FR" dirty="0">
                <a:solidFill>
                  <a:schemeClr val="tx2"/>
                </a:solidFill>
              </a:rPr>
              <a:t>Elodie </a:t>
            </a:r>
            <a:r>
              <a:rPr lang="fr-FR" dirty="0" err="1">
                <a:solidFill>
                  <a:schemeClr val="tx2"/>
                </a:solidFill>
              </a:rPr>
              <a:t>Tusevo</a:t>
            </a:r>
            <a:endParaRPr lang="fr-FR" dirty="0">
              <a:solidFill>
                <a:schemeClr val="tx2"/>
              </a:solidFill>
            </a:endParaRPr>
          </a:p>
          <a:p>
            <a:r>
              <a:rPr lang="fr-FR" sz="1400" dirty="0">
                <a:solidFill>
                  <a:srgbClr val="575757"/>
                </a:solidFill>
              </a:rPr>
              <a:t>WESA </a:t>
            </a:r>
            <a:r>
              <a:rPr lang="fr-FR" sz="1400" dirty="0" err="1">
                <a:solidFill>
                  <a:srgbClr val="575757"/>
                </a:solidFill>
              </a:rPr>
              <a:t>Recruiting</a:t>
            </a:r>
            <a:endParaRPr lang="fr-FR" sz="1400" dirty="0">
              <a:solidFill>
                <a:srgbClr val="575757"/>
              </a:solidFill>
            </a:endParaRPr>
          </a:p>
        </p:txBody>
      </p:sp>
      <p:pic>
        <p:nvPicPr>
          <p:cNvPr id="23" name="Picture 23">
            <a:extLst>
              <a:ext uri="{FF2B5EF4-FFF2-40B4-BE49-F238E27FC236}">
                <a16:creationId xmlns:a16="http://schemas.microsoft.com/office/drawing/2014/main" id="{24D8AA87-2D6F-EB48-9F58-517B69198E3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1445195" y="1874276"/>
            <a:ext cx="1042988" cy="1042988"/>
          </a:xfrm>
          <a:prstGeom prst="ellipse">
            <a:avLst/>
          </a:prstGeom>
          <a:grpFill/>
          <a:ln w="38100">
            <a:gradFill flip="none" rotWithShape="1">
              <a:gsLst>
                <a:gs pos="0">
                  <a:schemeClr val="accent2"/>
                </a:gs>
                <a:gs pos="100000">
                  <a:schemeClr val="tx2"/>
                </a:gs>
              </a:gsLst>
              <a:lin ang="2700000" scaled="1"/>
              <a:tileRect/>
            </a:gradFill>
          </a:ln>
        </p:spPr>
      </p:pic>
      <p:pic>
        <p:nvPicPr>
          <p:cNvPr id="202755" name="Picture 3">
            <a:extLst>
              <a:ext uri="{FF2B5EF4-FFF2-40B4-BE49-F238E27FC236}">
                <a16:creationId xmlns:a16="http://schemas.microsoft.com/office/drawing/2014/main" id="{2FD8E379-5CD4-C04D-909D-A51E519FEEF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951" r="2951"/>
          <a:stretch/>
        </p:blipFill>
        <p:spPr bwMode="auto">
          <a:xfrm>
            <a:off x="1445195" y="4810515"/>
            <a:ext cx="1042988" cy="1042988"/>
          </a:xfrm>
          <a:prstGeom prst="ellipse">
            <a:avLst/>
          </a:prstGeom>
          <a:grpFill/>
          <a:ln w="38100">
            <a:gradFill flip="none" rotWithShape="1">
              <a:gsLst>
                <a:gs pos="0">
                  <a:schemeClr val="accent2"/>
                </a:gs>
                <a:gs pos="100000">
                  <a:schemeClr val="tx2"/>
                </a:gs>
              </a:gsLst>
              <a:lin ang="2700000" scaled="1"/>
              <a:tileRect/>
            </a:gradFill>
          </a:ln>
        </p:spPr>
      </p:pic>
      <p:pic>
        <p:nvPicPr>
          <p:cNvPr id="25" name="Picture 24">
            <a:extLst>
              <a:ext uri="{FF2B5EF4-FFF2-40B4-BE49-F238E27FC236}">
                <a16:creationId xmlns:a16="http://schemas.microsoft.com/office/drawing/2014/main" id="{7D2CA5E7-26B0-2746-8B6E-4A63E6FDBB9D}"/>
              </a:ext>
            </a:extLst>
          </p:cNvPr>
          <p:cNvPicPr>
            <a:picLocks noChangeAspect="1"/>
          </p:cNvPicPr>
          <p:nvPr/>
        </p:nvPicPr>
        <p:blipFill rotWithShape="1">
          <a:blip r:embed="rId12"/>
          <a:srcRect/>
          <a:stretch/>
        </p:blipFill>
        <p:spPr>
          <a:xfrm>
            <a:off x="4340027" y="4810515"/>
            <a:ext cx="1042988" cy="1042988"/>
          </a:xfrm>
          <a:prstGeom prst="ellipse">
            <a:avLst/>
          </a:prstGeom>
          <a:grpFill/>
          <a:ln w="38100">
            <a:gradFill flip="none" rotWithShape="1">
              <a:gsLst>
                <a:gs pos="0">
                  <a:schemeClr val="accent2"/>
                </a:gs>
                <a:gs pos="100000">
                  <a:schemeClr val="tx2"/>
                </a:gs>
              </a:gsLst>
              <a:lin ang="2700000" scaled="1"/>
              <a:tileRect/>
            </a:gradFill>
          </a:ln>
        </p:spPr>
      </p:pic>
    </p:spTree>
    <p:custDataLst>
      <p:tags r:id="rId2"/>
    </p:custDataLst>
    <p:extLst>
      <p:ext uri="{BB962C8B-B14F-4D97-AF65-F5344CB8AC3E}">
        <p14:creationId xmlns:p14="http://schemas.microsoft.com/office/powerpoint/2010/main" val="501378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10" action="ppaction://hlinksldjump"/>
          </p:cNvPr>
          <p:cNvSpPr/>
          <p:nvPr>
            <p:custDataLst>
              <p:tags r:id="rId3"/>
            </p:custDataLst>
          </p:nvPr>
        </p:nvSpPr>
        <p:spPr>
          <a:xfrm>
            <a:off x="5166432" y="3241321"/>
            <a:ext cx="5296322"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fr-FR" sz="2400">
                <a:solidFill>
                  <a:schemeClr val="tx1">
                    <a:lumMod val="60000"/>
                    <a:lumOff val="40000"/>
                  </a:schemeClr>
                </a:solidFill>
                <a:latin typeface="Trebuchet MS" panose="020B0603020202020204" pitchFamily="34" charset="0"/>
              </a:rPr>
              <a:t>Composition des équipes et calendrier</a:t>
            </a:r>
            <a:endParaRPr lang="en-US" sz="2400">
              <a:solidFill>
                <a:schemeClr val="tx1">
                  <a:lumMod val="60000"/>
                  <a:lumOff val="40000"/>
                </a:schemeClr>
              </a:solidFill>
              <a:latin typeface="Trebuchet MS" panose="020B0603020202020204" pitchFamily="34" charset="0"/>
            </a:endParaRPr>
          </a:p>
        </p:txBody>
      </p:sp>
      <p:sp>
        <p:nvSpPr>
          <p:cNvPr id="5" name="Oval 4"/>
          <p:cNvSpPr/>
          <p:nvPr>
            <p:custDataLst>
              <p:tags r:id="rId4"/>
            </p:custDataLst>
          </p:nvPr>
        </p:nvSpPr>
        <p:spPr>
          <a:xfrm>
            <a:off x="4714058" y="271683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chemeClr val="tx1">
                  <a:lumMod val="100000"/>
                </a:schemeClr>
              </a:solidFill>
              <a:latin typeface="Trebuchet MS" panose="020B0603020202020204" pitchFamily="34" charset="0"/>
            </a:endParaRPr>
          </a:p>
        </p:txBody>
      </p:sp>
      <p:pic>
        <p:nvPicPr>
          <p:cNvPr id="4" name="Picture 3"/>
          <p:cNvPicPr>
            <a:picLocks/>
          </p:cNvPicPr>
          <p:nvPr>
            <p:custDataLst>
              <p:tags r:id="rId5"/>
            </p:custDataLst>
          </p:nvPr>
        </p:nvPicPr>
        <p:blipFill>
          <a:blip r:embed="rId11">
            <a:extLst>
              <a:ext uri="{28A0092B-C50C-407E-A947-70E740481C1C}">
                <a14:useLocalDpi xmlns:a14="http://schemas.microsoft.com/office/drawing/2010/main" val="0"/>
              </a:ext>
            </a:extLst>
          </a:blip>
          <a:stretch>
            <a:fillRect/>
          </a:stretch>
        </p:blipFill>
        <p:spPr>
          <a:xfrm>
            <a:off x="4714058" y="2716837"/>
            <a:ext cx="293147" cy="292608"/>
          </a:xfrm>
          <a:prstGeom prst="rect">
            <a:avLst/>
          </a:prstGeom>
        </p:spPr>
      </p:pic>
      <p:sp>
        <p:nvSpPr>
          <p:cNvPr id="3" name="Rectangle 2">
            <a:hlinkClick r:id="rId12" action="ppaction://hlinksldjump"/>
          </p:cNvPr>
          <p:cNvSpPr/>
          <p:nvPr>
            <p:custDataLst>
              <p:tags r:id="rId6"/>
            </p:custDataLst>
          </p:nvPr>
        </p:nvSpPr>
        <p:spPr>
          <a:xfrm>
            <a:off x="5166432" y="2675461"/>
            <a:ext cx="5296322" cy="37536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fr-FR" sz="2400" dirty="0">
                <a:solidFill>
                  <a:schemeClr val="tx1">
                    <a:lumMod val="100000"/>
                  </a:schemeClr>
                </a:solidFill>
                <a:latin typeface="Trebuchet MS" panose="020B0603020202020204" pitchFamily="34" charset="0"/>
              </a:rPr>
              <a:t>Présentation du </a:t>
            </a:r>
            <a:r>
              <a:rPr lang="fr-FR" sz="2400" dirty="0" err="1">
                <a:solidFill>
                  <a:schemeClr val="tx1">
                    <a:lumMod val="100000"/>
                  </a:schemeClr>
                </a:solidFill>
                <a:latin typeface="Trebuchet MS" panose="020B0603020202020204" pitchFamily="34" charset="0"/>
              </a:rPr>
              <a:t>datathon</a:t>
            </a:r>
            <a:endParaRPr lang="en-US" sz="2400" dirty="0">
              <a:solidFill>
                <a:schemeClr val="tx1">
                  <a:lumMod val="100000"/>
                </a:schemeClr>
              </a:solidFill>
              <a:latin typeface="Trebuchet MS" panose="020B0603020202020204" pitchFamily="34" charset="0"/>
            </a:endParaRPr>
          </a:p>
        </p:txBody>
      </p:sp>
      <p:sp>
        <p:nvSpPr>
          <p:cNvPr id="2" name="Title 1"/>
          <p:cNvSpPr>
            <a:spLocks noGrp="1"/>
          </p:cNvSpPr>
          <p:nvPr>
            <p:ph type="title"/>
            <p:custDataLst>
              <p:tags r:id="rId7"/>
            </p:custDataLst>
          </p:nvPr>
        </p:nvSpPr>
        <p:spPr/>
        <p:txBody>
          <a:bodyPr/>
          <a:lstStyle/>
          <a:p>
            <a:r>
              <a:rPr lang="en-US"/>
              <a:t>Agenda</a:t>
            </a:r>
          </a:p>
        </p:txBody>
      </p:sp>
      <p:graphicFrame>
        <p:nvGraphicFramePr>
          <p:cNvPr id="16" name="Object 15" hidden="1"/>
          <p:cNvGraphicFramePr>
            <a:graphicFrameLocks noChangeAspect="1"/>
          </p:cNvGraphicFramePr>
          <p:nvPr>
            <p:custDataLst>
              <p:tags r:id="rId8"/>
            </p:custDataLst>
            <p:extLst>
              <p:ext uri="{D42A27DB-BD31-4B8C-83A1-F6EECF244321}">
                <p14:modId xmlns:p14="http://schemas.microsoft.com/office/powerpoint/2010/main" val="553054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413" name="think-cell Slide" r:id="rId13" imgW="473" imgH="473" progId="TCLayout.ActiveDocument.1">
                  <p:embed/>
                </p:oleObj>
              </mc:Choice>
              <mc:Fallback>
                <p:oleObj name="think-cell Slide" r:id="rId13" imgW="473" imgH="473"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497329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29623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457" name="think-cell Slide" r:id="rId6" imgW="498" imgH="499" progId="TCLayout.ActiveDocument.1">
                  <p:embed/>
                </p:oleObj>
              </mc:Choice>
              <mc:Fallback>
                <p:oleObj name="think-cell Slide" r:id="rId6" imgW="498" imgH="499"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8194" name="Rectangle 2"/>
          <p:cNvSpPr>
            <a:spLocks noGrp="1" noChangeArrowheads="1"/>
          </p:cNvSpPr>
          <p:nvPr>
            <p:ph type="title"/>
          </p:nvPr>
        </p:nvSpPr>
        <p:spPr>
          <a:xfrm>
            <a:off x="630000" y="622800"/>
            <a:ext cx="10933200" cy="941796"/>
          </a:xfrm>
          <a:prstGeom prst="rect">
            <a:avLst/>
          </a:prstGeom>
        </p:spPr>
        <p:txBody>
          <a:bodyPr vert="horz">
            <a:spAutoFit/>
          </a:bodyPr>
          <a:lstStyle/>
          <a:p>
            <a:r>
              <a:rPr lang="fr-FR" altLang="fr-FR" u="sng" dirty="0">
                <a:solidFill>
                  <a:srgbClr val="03522D"/>
                </a:solidFill>
                <a:latin typeface="Trebuchet MS" panose="020B0603020202020204" pitchFamily="34" charset="0"/>
              </a:rPr>
              <a:t>Objectif :</a:t>
            </a:r>
            <a:r>
              <a:rPr lang="fr-FR" altLang="fr-FR" dirty="0">
                <a:solidFill>
                  <a:schemeClr val="tx2"/>
                </a:solidFill>
                <a:latin typeface="Trebuchet MS" panose="020B0603020202020204" pitchFamily="34" charset="0"/>
              </a:rPr>
              <a:t> Faire l'expérience en accélérée d'un projet de stratégie avec composante data science </a:t>
            </a:r>
          </a:p>
        </p:txBody>
      </p:sp>
      <p:sp>
        <p:nvSpPr>
          <p:cNvPr id="8195" name="Content Placeholder 5"/>
          <p:cNvSpPr>
            <a:spLocks noGrp="1"/>
          </p:cNvSpPr>
          <p:nvPr>
            <p:ph idx="4294967295"/>
          </p:nvPr>
        </p:nvSpPr>
        <p:spPr>
          <a:xfrm>
            <a:off x="362655" y="4022437"/>
            <a:ext cx="1712924" cy="1805081"/>
          </a:xfrm>
        </p:spPr>
        <p:txBody>
          <a:bodyPr lIns="0" tIns="0" rIns="0" bIns="0"/>
          <a:lstStyle/>
          <a:p>
            <a:pPr algn="ctr">
              <a:lnSpc>
                <a:spcPct val="100000"/>
              </a:lnSpc>
              <a:spcAft>
                <a:spcPts val="0"/>
              </a:spcAft>
              <a:buSzPct val="100000"/>
              <a:buFont typeface="Trebuchet MS" panose="020B0603020202020204" pitchFamily="34" charset="0"/>
              <a:buChar char="​"/>
            </a:pPr>
            <a:r>
              <a:rPr lang="fr-FR" altLang="fr-FR" sz="1600" dirty="0">
                <a:solidFill>
                  <a:schemeClr val="tx1">
                    <a:lumMod val="100000"/>
                  </a:schemeClr>
                </a:solidFill>
                <a:latin typeface="Trebuchet MS" panose="020B0603020202020204" pitchFamily="34" charset="0"/>
              </a:rPr>
              <a:t>Appréhender une problématique en réfléchissant aux implications business</a:t>
            </a:r>
          </a:p>
          <a:p>
            <a:pPr algn="ctr">
              <a:lnSpc>
                <a:spcPct val="100000"/>
              </a:lnSpc>
              <a:spcAft>
                <a:spcPts val="0"/>
              </a:spcAft>
              <a:buSzPct val="100000"/>
              <a:buFont typeface="Trebuchet MS" panose="020B0603020202020204" pitchFamily="34" charset="0"/>
              <a:buChar char="​"/>
            </a:pPr>
            <a:endParaRPr lang="fr-FR" altLang="fr-FR" sz="1600" dirty="0">
              <a:solidFill>
                <a:schemeClr val="tx1">
                  <a:lumMod val="100000"/>
                </a:schemeClr>
              </a:solidFill>
              <a:latin typeface="Trebuchet MS" panose="020B0603020202020204" pitchFamily="34" charset="0"/>
            </a:endParaRPr>
          </a:p>
        </p:txBody>
      </p:sp>
      <p:sp>
        <p:nvSpPr>
          <p:cNvPr id="7" name="Content Placeholder 5"/>
          <p:cNvSpPr txBox="1">
            <a:spLocks/>
          </p:cNvSpPr>
          <p:nvPr/>
        </p:nvSpPr>
        <p:spPr>
          <a:xfrm>
            <a:off x="630000" y="5880669"/>
            <a:ext cx="10933200" cy="78935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fr-FR" altLang="fr-FR" sz="1400" i="1" dirty="0">
                <a:solidFill>
                  <a:srgbClr val="575757"/>
                </a:solidFill>
              </a:rPr>
              <a:t>L'objectif est de vous confronter à une situation similaire à ce qui se produit dans la vraie vie dans un temps imparti…</a:t>
            </a:r>
            <a:endParaRPr lang="fr-FR" altLang="fr-FR" sz="1400" dirty="0"/>
          </a:p>
        </p:txBody>
      </p:sp>
      <p:grpSp>
        <p:nvGrpSpPr>
          <p:cNvPr id="57" name="Group 56">
            <a:extLst>
              <a:ext uri="{FF2B5EF4-FFF2-40B4-BE49-F238E27FC236}">
                <a16:creationId xmlns:a16="http://schemas.microsoft.com/office/drawing/2014/main" id="{A3680CF0-B8FF-6440-9447-901F79C439E0}"/>
              </a:ext>
            </a:extLst>
          </p:cNvPr>
          <p:cNvGrpSpPr/>
          <p:nvPr/>
        </p:nvGrpSpPr>
        <p:grpSpPr>
          <a:xfrm>
            <a:off x="398787" y="2256363"/>
            <a:ext cx="1640659" cy="1640659"/>
            <a:chOff x="2303538" y="1748902"/>
            <a:chExt cx="1640659" cy="1640659"/>
          </a:xfrm>
        </p:grpSpPr>
        <p:sp>
          <p:nvSpPr>
            <p:cNvPr id="58" name="Oval 57">
              <a:extLst>
                <a:ext uri="{FF2B5EF4-FFF2-40B4-BE49-F238E27FC236}">
                  <a16:creationId xmlns:a16="http://schemas.microsoft.com/office/drawing/2014/main" id="{841D10F7-12F9-0540-A60D-44A15C160961}"/>
                </a:ext>
              </a:extLst>
            </p:cNvPr>
            <p:cNvSpPr>
              <a:spLocks noChangeAspect="1"/>
            </p:cNvSpPr>
            <p:nvPr/>
          </p:nvSpPr>
          <p:spPr>
            <a:xfrm>
              <a:off x="2303538" y="1748902"/>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59" name="Group 58">
              <a:extLst>
                <a:ext uri="{FF2B5EF4-FFF2-40B4-BE49-F238E27FC236}">
                  <a16:creationId xmlns:a16="http://schemas.microsoft.com/office/drawing/2014/main" id="{BA9A73D8-A00E-FE4E-93C0-772A8BDC8183}"/>
                </a:ext>
              </a:extLst>
            </p:cNvPr>
            <p:cNvGrpSpPr>
              <a:grpSpLocks noChangeAspect="1"/>
            </p:cNvGrpSpPr>
            <p:nvPr/>
          </p:nvGrpSpPr>
          <p:grpSpPr>
            <a:xfrm>
              <a:off x="2500333" y="1945094"/>
              <a:ext cx="1247070" cy="1248274"/>
              <a:chOff x="5273675" y="2514600"/>
              <a:chExt cx="1644650" cy="1646238"/>
            </a:xfrm>
          </p:grpSpPr>
          <p:sp>
            <p:nvSpPr>
              <p:cNvPr id="60" name="AutoShape 91">
                <a:extLst>
                  <a:ext uri="{FF2B5EF4-FFF2-40B4-BE49-F238E27FC236}">
                    <a16:creationId xmlns:a16="http://schemas.microsoft.com/office/drawing/2014/main" id="{FC69E1D6-9376-1F46-A396-74FECBFE03A3}"/>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1" name="Group 60">
                <a:extLst>
                  <a:ext uri="{FF2B5EF4-FFF2-40B4-BE49-F238E27FC236}">
                    <a16:creationId xmlns:a16="http://schemas.microsoft.com/office/drawing/2014/main" id="{EC60E5A7-6503-584A-82E2-A9486283B314}"/>
                  </a:ext>
                </a:extLst>
              </p:cNvPr>
              <p:cNvGrpSpPr/>
              <p:nvPr/>
            </p:nvGrpSpPr>
            <p:grpSpPr>
              <a:xfrm>
                <a:off x="5508625" y="2774949"/>
                <a:ext cx="1174751" cy="1108076"/>
                <a:chOff x="5508625" y="2774949"/>
                <a:chExt cx="1174751" cy="1108076"/>
              </a:xfrm>
            </p:grpSpPr>
            <p:sp>
              <p:nvSpPr>
                <p:cNvPr id="62" name="Freeform 61">
                  <a:extLst>
                    <a:ext uri="{FF2B5EF4-FFF2-40B4-BE49-F238E27FC236}">
                      <a16:creationId xmlns:a16="http://schemas.microsoft.com/office/drawing/2014/main" id="{79D573CA-C060-F043-842D-B956FDFC4042}"/>
                    </a:ext>
                  </a:extLst>
                </p:cNvPr>
                <p:cNvSpPr>
                  <a:spLocks/>
                </p:cNvSpPr>
                <p:nvPr/>
              </p:nvSpPr>
              <p:spPr bwMode="auto">
                <a:xfrm>
                  <a:off x="5854271" y="2774949"/>
                  <a:ext cx="829105" cy="914400"/>
                </a:xfrm>
                <a:custGeom>
                  <a:avLst/>
                  <a:gdLst>
                    <a:gd name="connsiteX0" fmla="*/ 595862 w 829105"/>
                    <a:gd name="connsiteY0" fmla="*/ 301625 h 914400"/>
                    <a:gd name="connsiteX1" fmla="*/ 613694 w 829105"/>
                    <a:gd name="connsiteY1" fmla="*/ 306624 h 914400"/>
                    <a:gd name="connsiteX2" fmla="*/ 813413 w 829105"/>
                    <a:gd name="connsiteY2" fmla="*/ 432322 h 914400"/>
                    <a:gd name="connsiteX3" fmla="*/ 814126 w 829105"/>
                    <a:gd name="connsiteY3" fmla="*/ 432322 h 914400"/>
                    <a:gd name="connsiteX4" fmla="*/ 815553 w 829105"/>
                    <a:gd name="connsiteY4" fmla="*/ 433750 h 914400"/>
                    <a:gd name="connsiteX5" fmla="*/ 816979 w 829105"/>
                    <a:gd name="connsiteY5" fmla="*/ 434464 h 914400"/>
                    <a:gd name="connsiteX6" fmla="*/ 818406 w 829105"/>
                    <a:gd name="connsiteY6" fmla="*/ 435893 h 914400"/>
                    <a:gd name="connsiteX7" fmla="*/ 819833 w 829105"/>
                    <a:gd name="connsiteY7" fmla="*/ 436607 h 914400"/>
                    <a:gd name="connsiteX8" fmla="*/ 820546 w 829105"/>
                    <a:gd name="connsiteY8" fmla="*/ 438035 h 914400"/>
                    <a:gd name="connsiteX9" fmla="*/ 821972 w 829105"/>
                    <a:gd name="connsiteY9" fmla="*/ 439464 h 914400"/>
                    <a:gd name="connsiteX10" fmla="*/ 821972 w 829105"/>
                    <a:gd name="connsiteY10" fmla="*/ 440178 h 914400"/>
                    <a:gd name="connsiteX11" fmla="*/ 822686 w 829105"/>
                    <a:gd name="connsiteY11" fmla="*/ 440892 h 914400"/>
                    <a:gd name="connsiteX12" fmla="*/ 823399 w 829105"/>
                    <a:gd name="connsiteY12" fmla="*/ 442321 h 914400"/>
                    <a:gd name="connsiteX13" fmla="*/ 824112 w 829105"/>
                    <a:gd name="connsiteY13" fmla="*/ 442321 h 914400"/>
                    <a:gd name="connsiteX14" fmla="*/ 824826 w 829105"/>
                    <a:gd name="connsiteY14" fmla="*/ 443035 h 914400"/>
                    <a:gd name="connsiteX15" fmla="*/ 825539 w 829105"/>
                    <a:gd name="connsiteY15" fmla="*/ 444463 h 914400"/>
                    <a:gd name="connsiteX16" fmla="*/ 825539 w 829105"/>
                    <a:gd name="connsiteY16" fmla="*/ 445177 h 914400"/>
                    <a:gd name="connsiteX17" fmla="*/ 826252 w 829105"/>
                    <a:gd name="connsiteY17" fmla="*/ 445892 h 914400"/>
                    <a:gd name="connsiteX18" fmla="*/ 826965 w 829105"/>
                    <a:gd name="connsiteY18" fmla="*/ 447320 h 914400"/>
                    <a:gd name="connsiteX19" fmla="*/ 826965 w 829105"/>
                    <a:gd name="connsiteY19" fmla="*/ 448748 h 914400"/>
                    <a:gd name="connsiteX20" fmla="*/ 826965 w 829105"/>
                    <a:gd name="connsiteY20" fmla="*/ 449462 h 914400"/>
                    <a:gd name="connsiteX21" fmla="*/ 827679 w 829105"/>
                    <a:gd name="connsiteY21" fmla="*/ 450891 h 914400"/>
                    <a:gd name="connsiteX22" fmla="*/ 827679 w 829105"/>
                    <a:gd name="connsiteY22" fmla="*/ 451605 h 914400"/>
                    <a:gd name="connsiteX23" fmla="*/ 828392 w 829105"/>
                    <a:gd name="connsiteY23" fmla="*/ 451605 h 914400"/>
                    <a:gd name="connsiteX24" fmla="*/ 828392 w 829105"/>
                    <a:gd name="connsiteY24" fmla="*/ 452319 h 914400"/>
                    <a:gd name="connsiteX25" fmla="*/ 828392 w 829105"/>
                    <a:gd name="connsiteY25" fmla="*/ 453748 h 914400"/>
                    <a:gd name="connsiteX26" fmla="*/ 828392 w 829105"/>
                    <a:gd name="connsiteY26" fmla="*/ 455176 h 914400"/>
                    <a:gd name="connsiteX27" fmla="*/ 829105 w 829105"/>
                    <a:gd name="connsiteY27" fmla="*/ 455176 h 914400"/>
                    <a:gd name="connsiteX28" fmla="*/ 829105 w 829105"/>
                    <a:gd name="connsiteY28" fmla="*/ 457319 h 914400"/>
                    <a:gd name="connsiteX29" fmla="*/ 829105 w 829105"/>
                    <a:gd name="connsiteY29" fmla="*/ 458033 h 914400"/>
                    <a:gd name="connsiteX30" fmla="*/ 829105 w 829105"/>
                    <a:gd name="connsiteY30" fmla="*/ 458747 h 914400"/>
                    <a:gd name="connsiteX31" fmla="*/ 829105 w 829105"/>
                    <a:gd name="connsiteY31" fmla="*/ 460175 h 914400"/>
                    <a:gd name="connsiteX32" fmla="*/ 829105 w 829105"/>
                    <a:gd name="connsiteY32" fmla="*/ 461604 h 914400"/>
                    <a:gd name="connsiteX33" fmla="*/ 829105 w 829105"/>
                    <a:gd name="connsiteY33" fmla="*/ 462318 h 914400"/>
                    <a:gd name="connsiteX34" fmla="*/ 829105 w 829105"/>
                    <a:gd name="connsiteY34" fmla="*/ 463746 h 914400"/>
                    <a:gd name="connsiteX35" fmla="*/ 829105 w 829105"/>
                    <a:gd name="connsiteY35" fmla="*/ 464460 h 914400"/>
                    <a:gd name="connsiteX36" fmla="*/ 829105 w 829105"/>
                    <a:gd name="connsiteY36" fmla="*/ 465175 h 914400"/>
                    <a:gd name="connsiteX37" fmla="*/ 828392 w 829105"/>
                    <a:gd name="connsiteY37" fmla="*/ 466603 h 914400"/>
                    <a:gd name="connsiteX38" fmla="*/ 828392 w 829105"/>
                    <a:gd name="connsiteY38" fmla="*/ 468031 h 914400"/>
                    <a:gd name="connsiteX39" fmla="*/ 828392 w 829105"/>
                    <a:gd name="connsiteY39" fmla="*/ 468746 h 914400"/>
                    <a:gd name="connsiteX40" fmla="*/ 827679 w 829105"/>
                    <a:gd name="connsiteY40" fmla="*/ 470174 h 914400"/>
                    <a:gd name="connsiteX41" fmla="*/ 827679 w 829105"/>
                    <a:gd name="connsiteY41" fmla="*/ 470888 h 914400"/>
                    <a:gd name="connsiteX42" fmla="*/ 826965 w 829105"/>
                    <a:gd name="connsiteY42" fmla="*/ 471602 h 914400"/>
                    <a:gd name="connsiteX43" fmla="*/ 826965 w 829105"/>
                    <a:gd name="connsiteY43" fmla="*/ 473031 h 914400"/>
                    <a:gd name="connsiteX44" fmla="*/ 826252 w 829105"/>
                    <a:gd name="connsiteY44" fmla="*/ 474459 h 914400"/>
                    <a:gd name="connsiteX45" fmla="*/ 825539 w 829105"/>
                    <a:gd name="connsiteY45" fmla="*/ 475887 h 914400"/>
                    <a:gd name="connsiteX46" fmla="*/ 824826 w 829105"/>
                    <a:gd name="connsiteY46" fmla="*/ 477316 h 914400"/>
                    <a:gd name="connsiteX47" fmla="*/ 707847 w 829105"/>
                    <a:gd name="connsiteY47" fmla="*/ 682288 h 914400"/>
                    <a:gd name="connsiteX48" fmla="*/ 678603 w 829105"/>
                    <a:gd name="connsiteY48" fmla="*/ 698715 h 914400"/>
                    <a:gd name="connsiteX49" fmla="*/ 662197 w 829105"/>
                    <a:gd name="connsiteY49" fmla="*/ 694430 h 914400"/>
                    <a:gd name="connsiteX50" fmla="*/ 650071 w 829105"/>
                    <a:gd name="connsiteY50" fmla="*/ 648721 h 914400"/>
                    <a:gd name="connsiteX51" fmla="*/ 730672 w 829105"/>
                    <a:gd name="connsiteY51" fmla="*/ 508026 h 914400"/>
                    <a:gd name="connsiteX52" fmla="*/ 292717 w 829105"/>
                    <a:gd name="connsiteY52" fmla="*/ 914400 h 914400"/>
                    <a:gd name="connsiteX53" fmla="*/ 289150 w 829105"/>
                    <a:gd name="connsiteY53" fmla="*/ 898688 h 914400"/>
                    <a:gd name="connsiteX54" fmla="*/ 273458 w 829105"/>
                    <a:gd name="connsiteY54" fmla="*/ 838696 h 914400"/>
                    <a:gd name="connsiteX55" fmla="*/ 259192 w 829105"/>
                    <a:gd name="connsiteY55" fmla="*/ 797273 h 914400"/>
                    <a:gd name="connsiteX56" fmla="*/ 273458 w 829105"/>
                    <a:gd name="connsiteY56" fmla="*/ 765134 h 914400"/>
                    <a:gd name="connsiteX57" fmla="*/ 289150 w 829105"/>
                    <a:gd name="connsiteY57" fmla="*/ 735138 h 914400"/>
                    <a:gd name="connsiteX58" fmla="*/ 376171 w 829105"/>
                    <a:gd name="connsiteY58" fmla="*/ 620868 h 914400"/>
                    <a:gd name="connsiteX59" fmla="*/ 707134 w 829105"/>
                    <a:gd name="connsiteY59" fmla="*/ 444463 h 914400"/>
                    <a:gd name="connsiteX60" fmla="*/ 578030 w 829105"/>
                    <a:gd name="connsiteY60" fmla="*/ 363760 h 914400"/>
                    <a:gd name="connsiteX61" fmla="*/ 567330 w 829105"/>
                    <a:gd name="connsiteY61" fmla="*/ 317337 h 914400"/>
                    <a:gd name="connsiteX62" fmla="*/ 595862 w 829105"/>
                    <a:gd name="connsiteY62" fmla="*/ 301625 h 914400"/>
                    <a:gd name="connsiteX63" fmla="*/ 236718 w 829105"/>
                    <a:gd name="connsiteY63" fmla="*/ 0 h 914400"/>
                    <a:gd name="connsiteX64" fmla="*/ 237434 w 829105"/>
                    <a:gd name="connsiteY64" fmla="*/ 0 h 914400"/>
                    <a:gd name="connsiteX65" fmla="*/ 239582 w 829105"/>
                    <a:gd name="connsiteY65" fmla="*/ 0 h 914400"/>
                    <a:gd name="connsiteX66" fmla="*/ 241013 w 829105"/>
                    <a:gd name="connsiteY66" fmla="*/ 0 h 914400"/>
                    <a:gd name="connsiteX67" fmla="*/ 242445 w 829105"/>
                    <a:gd name="connsiteY67" fmla="*/ 0 h 914400"/>
                    <a:gd name="connsiteX68" fmla="*/ 243876 w 829105"/>
                    <a:gd name="connsiteY68" fmla="*/ 0 h 914400"/>
                    <a:gd name="connsiteX69" fmla="*/ 246023 w 829105"/>
                    <a:gd name="connsiteY69" fmla="*/ 0 h 914400"/>
                    <a:gd name="connsiteX70" fmla="*/ 246739 w 829105"/>
                    <a:gd name="connsiteY70" fmla="*/ 0 h 914400"/>
                    <a:gd name="connsiteX71" fmla="*/ 248171 w 829105"/>
                    <a:gd name="connsiteY71" fmla="*/ 714 h 914400"/>
                    <a:gd name="connsiteX72" fmla="*/ 250318 w 829105"/>
                    <a:gd name="connsiteY72" fmla="*/ 714 h 914400"/>
                    <a:gd name="connsiteX73" fmla="*/ 251749 w 829105"/>
                    <a:gd name="connsiteY73" fmla="*/ 1428 h 914400"/>
                    <a:gd name="connsiteX74" fmla="*/ 253181 w 829105"/>
                    <a:gd name="connsiteY74" fmla="*/ 1428 h 914400"/>
                    <a:gd name="connsiteX75" fmla="*/ 255328 w 829105"/>
                    <a:gd name="connsiteY75" fmla="*/ 2143 h 914400"/>
                    <a:gd name="connsiteX76" fmla="*/ 256044 w 829105"/>
                    <a:gd name="connsiteY76" fmla="*/ 2143 h 914400"/>
                    <a:gd name="connsiteX77" fmla="*/ 257475 w 829105"/>
                    <a:gd name="connsiteY77" fmla="*/ 2857 h 914400"/>
                    <a:gd name="connsiteX78" fmla="*/ 259623 w 829105"/>
                    <a:gd name="connsiteY78" fmla="*/ 3571 h 914400"/>
                    <a:gd name="connsiteX79" fmla="*/ 260339 w 829105"/>
                    <a:gd name="connsiteY79" fmla="*/ 3571 h 914400"/>
                    <a:gd name="connsiteX80" fmla="*/ 261770 w 829105"/>
                    <a:gd name="connsiteY80" fmla="*/ 4285 h 914400"/>
                    <a:gd name="connsiteX81" fmla="*/ 263202 w 829105"/>
                    <a:gd name="connsiteY81" fmla="*/ 4999 h 914400"/>
                    <a:gd name="connsiteX82" fmla="*/ 264633 w 829105"/>
                    <a:gd name="connsiteY82" fmla="*/ 5714 h 914400"/>
                    <a:gd name="connsiteX83" fmla="*/ 266065 w 829105"/>
                    <a:gd name="connsiteY83" fmla="*/ 6428 h 914400"/>
                    <a:gd name="connsiteX84" fmla="*/ 266065 w 829105"/>
                    <a:gd name="connsiteY84" fmla="*/ 7142 h 914400"/>
                    <a:gd name="connsiteX85" fmla="*/ 267496 w 829105"/>
                    <a:gd name="connsiteY85" fmla="*/ 7856 h 914400"/>
                    <a:gd name="connsiteX86" fmla="*/ 268212 w 829105"/>
                    <a:gd name="connsiteY86" fmla="*/ 7856 h 914400"/>
                    <a:gd name="connsiteX87" fmla="*/ 269644 w 829105"/>
                    <a:gd name="connsiteY87" fmla="*/ 9285 h 914400"/>
                    <a:gd name="connsiteX88" fmla="*/ 271075 w 829105"/>
                    <a:gd name="connsiteY88" fmla="*/ 9999 h 914400"/>
                    <a:gd name="connsiteX89" fmla="*/ 465759 w 829105"/>
                    <a:gd name="connsiteY89" fmla="*/ 164270 h 914400"/>
                    <a:gd name="connsiteX90" fmla="*/ 473633 w 829105"/>
                    <a:gd name="connsiteY90" fmla="*/ 229978 h 914400"/>
                    <a:gd name="connsiteX91" fmla="*/ 436414 w 829105"/>
                    <a:gd name="connsiteY91" fmla="*/ 247834 h 914400"/>
                    <a:gd name="connsiteX92" fmla="*/ 407068 w 829105"/>
                    <a:gd name="connsiteY92" fmla="*/ 237835 h 914400"/>
                    <a:gd name="connsiteX93" fmla="*/ 288969 w 829105"/>
                    <a:gd name="connsiteY93" fmla="*/ 144272 h 914400"/>
                    <a:gd name="connsiteX94" fmla="*/ 288969 w 829105"/>
                    <a:gd name="connsiteY94" fmla="*/ 675651 h 914400"/>
                    <a:gd name="connsiteX95" fmla="*/ 273222 w 829105"/>
                    <a:gd name="connsiteY95" fmla="*/ 699935 h 914400"/>
                    <a:gd name="connsiteX96" fmla="*/ 257475 w 829105"/>
                    <a:gd name="connsiteY96" fmla="*/ 727075 h 914400"/>
                    <a:gd name="connsiteX97" fmla="*/ 257475 w 829105"/>
                    <a:gd name="connsiteY97" fmla="*/ 112132 h 914400"/>
                    <a:gd name="connsiteX98" fmla="*/ 266065 w 829105"/>
                    <a:gd name="connsiteY98" fmla="*/ 97848 h 914400"/>
                    <a:gd name="connsiteX99" fmla="*/ 283243 w 829105"/>
                    <a:gd name="connsiteY99" fmla="*/ 99991 h 914400"/>
                    <a:gd name="connsiteX100" fmla="*/ 426393 w 829105"/>
                    <a:gd name="connsiteY100" fmla="*/ 213551 h 914400"/>
                    <a:gd name="connsiteX101" fmla="*/ 436414 w 829105"/>
                    <a:gd name="connsiteY101" fmla="*/ 216408 h 914400"/>
                    <a:gd name="connsiteX102" fmla="*/ 448581 w 829105"/>
                    <a:gd name="connsiteY102" fmla="*/ 210694 h 914400"/>
                    <a:gd name="connsiteX103" fmla="*/ 446434 w 829105"/>
                    <a:gd name="connsiteY103" fmla="*/ 188554 h 914400"/>
                    <a:gd name="connsiteX104" fmla="*/ 251749 w 829105"/>
                    <a:gd name="connsiteY104" fmla="*/ 34997 h 914400"/>
                    <a:gd name="connsiteX105" fmla="*/ 251034 w 829105"/>
                    <a:gd name="connsiteY105" fmla="*/ 34282 h 914400"/>
                    <a:gd name="connsiteX106" fmla="*/ 250318 w 829105"/>
                    <a:gd name="connsiteY106" fmla="*/ 34282 h 914400"/>
                    <a:gd name="connsiteX107" fmla="*/ 250318 w 829105"/>
                    <a:gd name="connsiteY107" fmla="*/ 33568 h 914400"/>
                    <a:gd name="connsiteX108" fmla="*/ 249602 w 829105"/>
                    <a:gd name="connsiteY108" fmla="*/ 33568 h 914400"/>
                    <a:gd name="connsiteX109" fmla="*/ 248886 w 829105"/>
                    <a:gd name="connsiteY109" fmla="*/ 32854 h 914400"/>
                    <a:gd name="connsiteX110" fmla="*/ 248171 w 829105"/>
                    <a:gd name="connsiteY110" fmla="*/ 32854 h 914400"/>
                    <a:gd name="connsiteX111" fmla="*/ 247455 w 829105"/>
                    <a:gd name="connsiteY111" fmla="*/ 32854 h 914400"/>
                    <a:gd name="connsiteX112" fmla="*/ 246739 w 829105"/>
                    <a:gd name="connsiteY112" fmla="*/ 32140 h 914400"/>
                    <a:gd name="connsiteX113" fmla="*/ 246023 w 829105"/>
                    <a:gd name="connsiteY113" fmla="*/ 32140 h 914400"/>
                    <a:gd name="connsiteX114" fmla="*/ 245308 w 829105"/>
                    <a:gd name="connsiteY114" fmla="*/ 32140 h 914400"/>
                    <a:gd name="connsiteX115" fmla="*/ 244592 w 829105"/>
                    <a:gd name="connsiteY115" fmla="*/ 31426 h 914400"/>
                    <a:gd name="connsiteX116" fmla="*/ 243876 w 829105"/>
                    <a:gd name="connsiteY116" fmla="*/ 31426 h 914400"/>
                    <a:gd name="connsiteX117" fmla="*/ 241729 w 829105"/>
                    <a:gd name="connsiteY117" fmla="*/ 31426 h 914400"/>
                    <a:gd name="connsiteX118" fmla="*/ 240297 w 829105"/>
                    <a:gd name="connsiteY118" fmla="*/ 31426 h 914400"/>
                    <a:gd name="connsiteX119" fmla="*/ 238150 w 829105"/>
                    <a:gd name="connsiteY119" fmla="*/ 32140 h 914400"/>
                    <a:gd name="connsiteX120" fmla="*/ 237434 w 829105"/>
                    <a:gd name="connsiteY120" fmla="*/ 32140 h 914400"/>
                    <a:gd name="connsiteX121" fmla="*/ 236718 w 829105"/>
                    <a:gd name="connsiteY121" fmla="*/ 32140 h 914400"/>
                    <a:gd name="connsiteX122" fmla="*/ 236003 w 829105"/>
                    <a:gd name="connsiteY122" fmla="*/ 32854 h 914400"/>
                    <a:gd name="connsiteX123" fmla="*/ 235287 w 829105"/>
                    <a:gd name="connsiteY123" fmla="*/ 32854 h 914400"/>
                    <a:gd name="connsiteX124" fmla="*/ 234571 w 829105"/>
                    <a:gd name="connsiteY124" fmla="*/ 32854 h 914400"/>
                    <a:gd name="connsiteX125" fmla="*/ 233855 w 829105"/>
                    <a:gd name="connsiteY125" fmla="*/ 33568 h 914400"/>
                    <a:gd name="connsiteX126" fmla="*/ 233140 w 829105"/>
                    <a:gd name="connsiteY126" fmla="*/ 34282 h 914400"/>
                    <a:gd name="connsiteX127" fmla="*/ 232424 w 829105"/>
                    <a:gd name="connsiteY127" fmla="*/ 34282 h 914400"/>
                    <a:gd name="connsiteX128" fmla="*/ 231708 w 829105"/>
                    <a:gd name="connsiteY128" fmla="*/ 34997 h 914400"/>
                    <a:gd name="connsiteX129" fmla="*/ 37024 w 829105"/>
                    <a:gd name="connsiteY129" fmla="*/ 188554 h 914400"/>
                    <a:gd name="connsiteX130" fmla="*/ 34877 w 829105"/>
                    <a:gd name="connsiteY130" fmla="*/ 210694 h 914400"/>
                    <a:gd name="connsiteX131" fmla="*/ 47044 w 829105"/>
                    <a:gd name="connsiteY131" fmla="*/ 216408 h 914400"/>
                    <a:gd name="connsiteX132" fmla="*/ 57065 w 829105"/>
                    <a:gd name="connsiteY132" fmla="*/ 213551 h 914400"/>
                    <a:gd name="connsiteX133" fmla="*/ 200215 w 829105"/>
                    <a:gd name="connsiteY133" fmla="*/ 99991 h 914400"/>
                    <a:gd name="connsiteX134" fmla="*/ 210236 w 829105"/>
                    <a:gd name="connsiteY134" fmla="*/ 96419 h 914400"/>
                    <a:gd name="connsiteX135" fmla="*/ 217393 w 829105"/>
                    <a:gd name="connsiteY135" fmla="*/ 97848 h 914400"/>
                    <a:gd name="connsiteX136" fmla="*/ 225982 w 829105"/>
                    <a:gd name="connsiteY136" fmla="*/ 112132 h 914400"/>
                    <a:gd name="connsiteX137" fmla="*/ 225982 w 829105"/>
                    <a:gd name="connsiteY137" fmla="*/ 727075 h 914400"/>
                    <a:gd name="connsiteX138" fmla="*/ 210236 w 829105"/>
                    <a:gd name="connsiteY138" fmla="*/ 699935 h 914400"/>
                    <a:gd name="connsiteX139" fmla="*/ 194489 w 829105"/>
                    <a:gd name="connsiteY139" fmla="*/ 675651 h 914400"/>
                    <a:gd name="connsiteX140" fmla="*/ 194489 w 829105"/>
                    <a:gd name="connsiteY140" fmla="*/ 144272 h 914400"/>
                    <a:gd name="connsiteX141" fmla="*/ 76390 w 829105"/>
                    <a:gd name="connsiteY141" fmla="*/ 237835 h 914400"/>
                    <a:gd name="connsiteX142" fmla="*/ 47044 w 829105"/>
                    <a:gd name="connsiteY142" fmla="*/ 247834 h 914400"/>
                    <a:gd name="connsiteX143" fmla="*/ 9825 w 829105"/>
                    <a:gd name="connsiteY143" fmla="*/ 229978 h 914400"/>
                    <a:gd name="connsiteX144" fmla="*/ 17699 w 829105"/>
                    <a:gd name="connsiteY144" fmla="*/ 164270 h 914400"/>
                    <a:gd name="connsiteX145" fmla="*/ 212383 w 829105"/>
                    <a:gd name="connsiteY145" fmla="*/ 9999 h 914400"/>
                    <a:gd name="connsiteX146" fmla="*/ 213814 w 829105"/>
                    <a:gd name="connsiteY146" fmla="*/ 9285 h 914400"/>
                    <a:gd name="connsiteX147" fmla="*/ 215246 w 829105"/>
                    <a:gd name="connsiteY147" fmla="*/ 7856 h 914400"/>
                    <a:gd name="connsiteX148" fmla="*/ 215962 w 829105"/>
                    <a:gd name="connsiteY148" fmla="*/ 7856 h 914400"/>
                    <a:gd name="connsiteX149" fmla="*/ 217393 w 829105"/>
                    <a:gd name="connsiteY149" fmla="*/ 7142 h 914400"/>
                    <a:gd name="connsiteX150" fmla="*/ 217393 w 829105"/>
                    <a:gd name="connsiteY150" fmla="*/ 6428 h 914400"/>
                    <a:gd name="connsiteX151" fmla="*/ 218825 w 829105"/>
                    <a:gd name="connsiteY151" fmla="*/ 5714 h 914400"/>
                    <a:gd name="connsiteX152" fmla="*/ 220256 w 829105"/>
                    <a:gd name="connsiteY152" fmla="*/ 4999 h 914400"/>
                    <a:gd name="connsiteX153" fmla="*/ 221688 w 829105"/>
                    <a:gd name="connsiteY153" fmla="*/ 4285 h 914400"/>
                    <a:gd name="connsiteX154" fmla="*/ 223119 w 829105"/>
                    <a:gd name="connsiteY154" fmla="*/ 3571 h 914400"/>
                    <a:gd name="connsiteX155" fmla="*/ 224551 w 829105"/>
                    <a:gd name="connsiteY155" fmla="*/ 3571 h 914400"/>
                    <a:gd name="connsiteX156" fmla="*/ 225982 w 829105"/>
                    <a:gd name="connsiteY156" fmla="*/ 2857 h 914400"/>
                    <a:gd name="connsiteX157" fmla="*/ 227414 w 829105"/>
                    <a:gd name="connsiteY157" fmla="*/ 2143 h 914400"/>
                    <a:gd name="connsiteX158" fmla="*/ 228129 w 829105"/>
                    <a:gd name="connsiteY158" fmla="*/ 2143 h 914400"/>
                    <a:gd name="connsiteX159" fmla="*/ 230992 w 829105"/>
                    <a:gd name="connsiteY159" fmla="*/ 1428 h 914400"/>
                    <a:gd name="connsiteX160" fmla="*/ 231708 w 829105"/>
                    <a:gd name="connsiteY160" fmla="*/ 714 h 914400"/>
                    <a:gd name="connsiteX161" fmla="*/ 233140 w 829105"/>
                    <a:gd name="connsiteY161" fmla="*/ 714 h 914400"/>
                    <a:gd name="connsiteX162" fmla="*/ 235287 w 829105"/>
                    <a:gd name="connsiteY162" fmla="*/ 714 h 914400"/>
                    <a:gd name="connsiteX163" fmla="*/ 236718 w 829105"/>
                    <a:gd name="connsiteY163"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829105" h="914400">
                      <a:moveTo>
                        <a:pt x="595862" y="301625"/>
                      </a:moveTo>
                      <a:cubicBezTo>
                        <a:pt x="601568" y="301625"/>
                        <a:pt x="607988" y="303054"/>
                        <a:pt x="613694" y="306624"/>
                      </a:cubicBezTo>
                      <a:cubicBezTo>
                        <a:pt x="613694" y="306624"/>
                        <a:pt x="613694" y="306624"/>
                        <a:pt x="813413" y="432322"/>
                      </a:cubicBezTo>
                      <a:cubicBezTo>
                        <a:pt x="814126" y="432322"/>
                        <a:pt x="814126" y="432322"/>
                        <a:pt x="814126" y="432322"/>
                      </a:cubicBezTo>
                      <a:cubicBezTo>
                        <a:pt x="814840" y="433036"/>
                        <a:pt x="815553" y="433036"/>
                        <a:pt x="815553" y="433750"/>
                      </a:cubicBezTo>
                      <a:cubicBezTo>
                        <a:pt x="816266" y="433750"/>
                        <a:pt x="816979" y="434464"/>
                        <a:pt x="816979" y="434464"/>
                      </a:cubicBezTo>
                      <a:cubicBezTo>
                        <a:pt x="817693" y="435179"/>
                        <a:pt x="817693" y="435179"/>
                        <a:pt x="818406" y="435893"/>
                      </a:cubicBezTo>
                      <a:cubicBezTo>
                        <a:pt x="819119" y="435893"/>
                        <a:pt x="819119" y="436607"/>
                        <a:pt x="819833" y="436607"/>
                      </a:cubicBezTo>
                      <a:cubicBezTo>
                        <a:pt x="819833" y="437321"/>
                        <a:pt x="820546" y="438035"/>
                        <a:pt x="820546" y="438035"/>
                      </a:cubicBezTo>
                      <a:cubicBezTo>
                        <a:pt x="821259" y="438750"/>
                        <a:pt x="821259" y="438750"/>
                        <a:pt x="821972" y="439464"/>
                      </a:cubicBezTo>
                      <a:cubicBezTo>
                        <a:pt x="821972" y="439464"/>
                        <a:pt x="821972" y="440178"/>
                        <a:pt x="821972" y="440178"/>
                      </a:cubicBezTo>
                      <a:cubicBezTo>
                        <a:pt x="822686" y="440178"/>
                        <a:pt x="822686" y="440178"/>
                        <a:pt x="822686" y="440892"/>
                      </a:cubicBezTo>
                      <a:cubicBezTo>
                        <a:pt x="823399" y="440892"/>
                        <a:pt x="823399" y="441606"/>
                        <a:pt x="823399" y="442321"/>
                      </a:cubicBezTo>
                      <a:cubicBezTo>
                        <a:pt x="824112" y="442321"/>
                        <a:pt x="824112" y="442321"/>
                        <a:pt x="824112" y="442321"/>
                      </a:cubicBezTo>
                      <a:cubicBezTo>
                        <a:pt x="824112" y="443035"/>
                        <a:pt x="824112" y="443035"/>
                        <a:pt x="824826" y="443035"/>
                      </a:cubicBezTo>
                      <a:cubicBezTo>
                        <a:pt x="824826" y="443749"/>
                        <a:pt x="824826" y="444463"/>
                        <a:pt x="825539" y="444463"/>
                      </a:cubicBezTo>
                      <a:cubicBezTo>
                        <a:pt x="825539" y="445177"/>
                        <a:pt x="825539" y="445177"/>
                        <a:pt x="825539" y="445177"/>
                      </a:cubicBezTo>
                      <a:cubicBezTo>
                        <a:pt x="825539" y="445892"/>
                        <a:pt x="826252" y="445892"/>
                        <a:pt x="826252" y="445892"/>
                      </a:cubicBezTo>
                      <a:cubicBezTo>
                        <a:pt x="826252" y="446606"/>
                        <a:pt x="826252" y="447320"/>
                        <a:pt x="826965" y="447320"/>
                      </a:cubicBezTo>
                      <a:cubicBezTo>
                        <a:pt x="826965" y="448034"/>
                        <a:pt x="826965" y="448034"/>
                        <a:pt x="826965" y="448748"/>
                      </a:cubicBezTo>
                      <a:cubicBezTo>
                        <a:pt x="826965" y="448748"/>
                        <a:pt x="826965" y="448748"/>
                        <a:pt x="826965" y="449462"/>
                      </a:cubicBezTo>
                      <a:cubicBezTo>
                        <a:pt x="827679" y="449462"/>
                        <a:pt x="827679" y="450177"/>
                        <a:pt x="827679" y="450891"/>
                      </a:cubicBezTo>
                      <a:cubicBezTo>
                        <a:pt x="827679" y="450891"/>
                        <a:pt x="827679" y="451605"/>
                        <a:pt x="827679" y="451605"/>
                      </a:cubicBezTo>
                      <a:cubicBezTo>
                        <a:pt x="828392" y="451605"/>
                        <a:pt x="828392" y="451605"/>
                        <a:pt x="828392" y="451605"/>
                      </a:cubicBezTo>
                      <a:cubicBezTo>
                        <a:pt x="828392" y="452319"/>
                        <a:pt x="828392" y="452319"/>
                        <a:pt x="828392" y="452319"/>
                      </a:cubicBezTo>
                      <a:cubicBezTo>
                        <a:pt x="828392" y="453033"/>
                        <a:pt x="828392" y="453033"/>
                        <a:pt x="828392" y="453748"/>
                      </a:cubicBezTo>
                      <a:cubicBezTo>
                        <a:pt x="828392" y="454462"/>
                        <a:pt x="828392" y="454462"/>
                        <a:pt x="828392" y="455176"/>
                      </a:cubicBezTo>
                      <a:cubicBezTo>
                        <a:pt x="829105" y="455176"/>
                        <a:pt x="829105" y="455176"/>
                        <a:pt x="829105" y="455176"/>
                      </a:cubicBezTo>
                      <a:cubicBezTo>
                        <a:pt x="829105" y="455890"/>
                        <a:pt x="829105" y="456604"/>
                        <a:pt x="829105" y="457319"/>
                      </a:cubicBezTo>
                      <a:cubicBezTo>
                        <a:pt x="829105" y="457319"/>
                        <a:pt x="829105" y="458033"/>
                        <a:pt x="829105" y="458033"/>
                      </a:cubicBezTo>
                      <a:cubicBezTo>
                        <a:pt x="829105" y="458747"/>
                        <a:pt x="829105" y="458747"/>
                        <a:pt x="829105" y="458747"/>
                      </a:cubicBezTo>
                      <a:cubicBezTo>
                        <a:pt x="829105" y="459461"/>
                        <a:pt x="829105" y="459461"/>
                        <a:pt x="829105" y="460175"/>
                      </a:cubicBezTo>
                      <a:cubicBezTo>
                        <a:pt x="829105" y="460889"/>
                        <a:pt x="829105" y="460889"/>
                        <a:pt x="829105" y="461604"/>
                      </a:cubicBezTo>
                      <a:cubicBezTo>
                        <a:pt x="829105" y="461604"/>
                        <a:pt x="829105" y="461604"/>
                        <a:pt x="829105" y="462318"/>
                      </a:cubicBezTo>
                      <a:cubicBezTo>
                        <a:pt x="829105" y="462318"/>
                        <a:pt x="829105" y="463032"/>
                        <a:pt x="829105" y="463746"/>
                      </a:cubicBezTo>
                      <a:cubicBezTo>
                        <a:pt x="829105" y="463746"/>
                        <a:pt x="829105" y="464460"/>
                        <a:pt x="829105" y="464460"/>
                      </a:cubicBezTo>
                      <a:cubicBezTo>
                        <a:pt x="829105" y="465175"/>
                        <a:pt x="829105" y="465175"/>
                        <a:pt x="829105" y="465175"/>
                      </a:cubicBezTo>
                      <a:cubicBezTo>
                        <a:pt x="829105" y="465889"/>
                        <a:pt x="828392" y="465889"/>
                        <a:pt x="828392" y="466603"/>
                      </a:cubicBezTo>
                      <a:cubicBezTo>
                        <a:pt x="828392" y="467317"/>
                        <a:pt x="828392" y="467317"/>
                        <a:pt x="828392" y="468031"/>
                      </a:cubicBezTo>
                      <a:cubicBezTo>
                        <a:pt x="828392" y="468031"/>
                        <a:pt x="828392" y="468031"/>
                        <a:pt x="828392" y="468746"/>
                      </a:cubicBezTo>
                      <a:cubicBezTo>
                        <a:pt x="828392" y="468746"/>
                        <a:pt x="827679" y="469460"/>
                        <a:pt x="827679" y="470174"/>
                      </a:cubicBezTo>
                      <a:cubicBezTo>
                        <a:pt x="827679" y="470174"/>
                        <a:pt x="827679" y="470888"/>
                        <a:pt x="827679" y="470888"/>
                      </a:cubicBezTo>
                      <a:cubicBezTo>
                        <a:pt x="827679" y="471602"/>
                        <a:pt x="826965" y="471602"/>
                        <a:pt x="826965" y="471602"/>
                      </a:cubicBezTo>
                      <a:cubicBezTo>
                        <a:pt x="826965" y="472317"/>
                        <a:pt x="826965" y="472317"/>
                        <a:pt x="826965" y="473031"/>
                      </a:cubicBezTo>
                      <a:cubicBezTo>
                        <a:pt x="826252" y="473745"/>
                        <a:pt x="826252" y="473745"/>
                        <a:pt x="826252" y="474459"/>
                      </a:cubicBezTo>
                      <a:cubicBezTo>
                        <a:pt x="825539" y="475173"/>
                        <a:pt x="825539" y="475887"/>
                        <a:pt x="825539" y="475887"/>
                      </a:cubicBezTo>
                      <a:cubicBezTo>
                        <a:pt x="824826" y="476602"/>
                        <a:pt x="824826" y="476602"/>
                        <a:pt x="824826" y="477316"/>
                      </a:cubicBezTo>
                      <a:cubicBezTo>
                        <a:pt x="824826" y="477316"/>
                        <a:pt x="824826" y="477316"/>
                        <a:pt x="707847" y="682288"/>
                      </a:cubicBezTo>
                      <a:cubicBezTo>
                        <a:pt x="701428" y="693001"/>
                        <a:pt x="690015" y="698715"/>
                        <a:pt x="678603" y="698715"/>
                      </a:cubicBezTo>
                      <a:cubicBezTo>
                        <a:pt x="672896" y="698715"/>
                        <a:pt x="667190" y="697286"/>
                        <a:pt x="662197" y="694430"/>
                      </a:cubicBezTo>
                      <a:cubicBezTo>
                        <a:pt x="646505" y="685145"/>
                        <a:pt x="640799" y="665148"/>
                        <a:pt x="650071" y="648721"/>
                      </a:cubicBezTo>
                      <a:cubicBezTo>
                        <a:pt x="650071" y="648721"/>
                        <a:pt x="650071" y="648721"/>
                        <a:pt x="730672" y="508026"/>
                      </a:cubicBezTo>
                      <a:cubicBezTo>
                        <a:pt x="543792" y="553020"/>
                        <a:pt x="349779" y="661577"/>
                        <a:pt x="292717" y="914400"/>
                      </a:cubicBezTo>
                      <a:cubicBezTo>
                        <a:pt x="291290" y="909401"/>
                        <a:pt x="290577" y="904401"/>
                        <a:pt x="289150" y="898688"/>
                      </a:cubicBezTo>
                      <a:cubicBezTo>
                        <a:pt x="284870" y="877976"/>
                        <a:pt x="279164" y="857979"/>
                        <a:pt x="273458" y="838696"/>
                      </a:cubicBezTo>
                      <a:cubicBezTo>
                        <a:pt x="269178" y="824412"/>
                        <a:pt x="264185" y="810843"/>
                        <a:pt x="259192" y="797273"/>
                      </a:cubicBezTo>
                      <a:cubicBezTo>
                        <a:pt x="263472" y="786560"/>
                        <a:pt x="268465" y="775847"/>
                        <a:pt x="273458" y="765134"/>
                      </a:cubicBezTo>
                      <a:cubicBezTo>
                        <a:pt x="278451" y="755136"/>
                        <a:pt x="283444" y="745137"/>
                        <a:pt x="289150" y="735138"/>
                      </a:cubicBezTo>
                      <a:cubicBezTo>
                        <a:pt x="312688" y="693001"/>
                        <a:pt x="341933" y="655149"/>
                        <a:pt x="376171" y="620868"/>
                      </a:cubicBezTo>
                      <a:cubicBezTo>
                        <a:pt x="458198" y="537308"/>
                        <a:pt x="569470" y="478744"/>
                        <a:pt x="707134" y="444463"/>
                      </a:cubicBezTo>
                      <a:cubicBezTo>
                        <a:pt x="707134" y="444463"/>
                        <a:pt x="707134" y="444463"/>
                        <a:pt x="578030" y="363760"/>
                      </a:cubicBezTo>
                      <a:cubicBezTo>
                        <a:pt x="562337" y="353761"/>
                        <a:pt x="558058" y="333049"/>
                        <a:pt x="567330" y="317337"/>
                      </a:cubicBezTo>
                      <a:cubicBezTo>
                        <a:pt x="573750" y="307339"/>
                        <a:pt x="584449" y="301625"/>
                        <a:pt x="595862" y="301625"/>
                      </a:cubicBezTo>
                      <a:close/>
                      <a:moveTo>
                        <a:pt x="236718" y="0"/>
                      </a:moveTo>
                      <a:cubicBezTo>
                        <a:pt x="236718" y="0"/>
                        <a:pt x="236718" y="0"/>
                        <a:pt x="237434" y="0"/>
                      </a:cubicBezTo>
                      <a:cubicBezTo>
                        <a:pt x="238150" y="0"/>
                        <a:pt x="238866" y="0"/>
                        <a:pt x="239582" y="0"/>
                      </a:cubicBezTo>
                      <a:cubicBezTo>
                        <a:pt x="240297" y="0"/>
                        <a:pt x="240297" y="0"/>
                        <a:pt x="241013" y="0"/>
                      </a:cubicBezTo>
                      <a:cubicBezTo>
                        <a:pt x="241729" y="0"/>
                        <a:pt x="242445" y="0"/>
                        <a:pt x="242445" y="0"/>
                      </a:cubicBezTo>
                      <a:cubicBezTo>
                        <a:pt x="243160" y="0"/>
                        <a:pt x="243160" y="0"/>
                        <a:pt x="243876" y="0"/>
                      </a:cubicBezTo>
                      <a:cubicBezTo>
                        <a:pt x="244592" y="0"/>
                        <a:pt x="245308" y="0"/>
                        <a:pt x="246023" y="0"/>
                      </a:cubicBezTo>
                      <a:cubicBezTo>
                        <a:pt x="246023" y="0"/>
                        <a:pt x="246739" y="0"/>
                        <a:pt x="246739" y="0"/>
                      </a:cubicBezTo>
                      <a:cubicBezTo>
                        <a:pt x="247455" y="0"/>
                        <a:pt x="247455" y="714"/>
                        <a:pt x="248171" y="714"/>
                      </a:cubicBezTo>
                      <a:cubicBezTo>
                        <a:pt x="248886" y="714"/>
                        <a:pt x="249602" y="714"/>
                        <a:pt x="250318" y="714"/>
                      </a:cubicBezTo>
                      <a:cubicBezTo>
                        <a:pt x="251034" y="714"/>
                        <a:pt x="251034" y="714"/>
                        <a:pt x="251749" y="1428"/>
                      </a:cubicBezTo>
                      <a:cubicBezTo>
                        <a:pt x="251749" y="1428"/>
                        <a:pt x="252465" y="1428"/>
                        <a:pt x="253181" y="1428"/>
                      </a:cubicBezTo>
                      <a:cubicBezTo>
                        <a:pt x="253181" y="1428"/>
                        <a:pt x="254612" y="1428"/>
                        <a:pt x="255328" y="2143"/>
                      </a:cubicBezTo>
                      <a:cubicBezTo>
                        <a:pt x="255328" y="2143"/>
                        <a:pt x="255328" y="2143"/>
                        <a:pt x="256044" y="2143"/>
                      </a:cubicBezTo>
                      <a:cubicBezTo>
                        <a:pt x="256760" y="2143"/>
                        <a:pt x="256760" y="2143"/>
                        <a:pt x="257475" y="2857"/>
                      </a:cubicBezTo>
                      <a:cubicBezTo>
                        <a:pt x="258191" y="2857"/>
                        <a:pt x="258907" y="2857"/>
                        <a:pt x="259623" y="3571"/>
                      </a:cubicBezTo>
                      <a:cubicBezTo>
                        <a:pt x="259623" y="3571"/>
                        <a:pt x="259623" y="3571"/>
                        <a:pt x="260339" y="3571"/>
                      </a:cubicBezTo>
                      <a:cubicBezTo>
                        <a:pt x="261055" y="4285"/>
                        <a:pt x="261055" y="4285"/>
                        <a:pt x="261770" y="4285"/>
                      </a:cubicBezTo>
                      <a:cubicBezTo>
                        <a:pt x="262486" y="4999"/>
                        <a:pt x="262486" y="4999"/>
                        <a:pt x="263202" y="4999"/>
                      </a:cubicBezTo>
                      <a:cubicBezTo>
                        <a:pt x="263918" y="5714"/>
                        <a:pt x="263918" y="5714"/>
                        <a:pt x="264633" y="5714"/>
                      </a:cubicBezTo>
                      <a:cubicBezTo>
                        <a:pt x="264633" y="5714"/>
                        <a:pt x="265349" y="6428"/>
                        <a:pt x="266065" y="6428"/>
                      </a:cubicBezTo>
                      <a:cubicBezTo>
                        <a:pt x="266065" y="6428"/>
                        <a:pt x="266065" y="6428"/>
                        <a:pt x="266065" y="7142"/>
                      </a:cubicBezTo>
                      <a:cubicBezTo>
                        <a:pt x="266781" y="7142"/>
                        <a:pt x="266781" y="7142"/>
                        <a:pt x="267496" y="7856"/>
                      </a:cubicBezTo>
                      <a:cubicBezTo>
                        <a:pt x="267496" y="7856"/>
                        <a:pt x="268212" y="7856"/>
                        <a:pt x="268212" y="7856"/>
                      </a:cubicBezTo>
                      <a:cubicBezTo>
                        <a:pt x="268928" y="8571"/>
                        <a:pt x="268928" y="8571"/>
                        <a:pt x="269644" y="9285"/>
                      </a:cubicBezTo>
                      <a:cubicBezTo>
                        <a:pt x="270359" y="9285"/>
                        <a:pt x="270359" y="9999"/>
                        <a:pt x="271075" y="9999"/>
                      </a:cubicBezTo>
                      <a:cubicBezTo>
                        <a:pt x="271075" y="9999"/>
                        <a:pt x="271075" y="9999"/>
                        <a:pt x="465759" y="164270"/>
                      </a:cubicBezTo>
                      <a:cubicBezTo>
                        <a:pt x="485800" y="179983"/>
                        <a:pt x="489379" y="209980"/>
                        <a:pt x="473633" y="229978"/>
                      </a:cubicBezTo>
                      <a:cubicBezTo>
                        <a:pt x="464328" y="241406"/>
                        <a:pt x="450729" y="247834"/>
                        <a:pt x="436414" y="247834"/>
                      </a:cubicBezTo>
                      <a:cubicBezTo>
                        <a:pt x="425677" y="247834"/>
                        <a:pt x="415657" y="244263"/>
                        <a:pt x="407068" y="237835"/>
                      </a:cubicBezTo>
                      <a:cubicBezTo>
                        <a:pt x="407068" y="237835"/>
                        <a:pt x="407068" y="237835"/>
                        <a:pt x="288969" y="144272"/>
                      </a:cubicBezTo>
                      <a:cubicBezTo>
                        <a:pt x="288969" y="144272"/>
                        <a:pt x="288969" y="144272"/>
                        <a:pt x="288969" y="675651"/>
                      </a:cubicBezTo>
                      <a:cubicBezTo>
                        <a:pt x="283243" y="683508"/>
                        <a:pt x="278233" y="692078"/>
                        <a:pt x="273222" y="699935"/>
                      </a:cubicBezTo>
                      <a:cubicBezTo>
                        <a:pt x="267496" y="708505"/>
                        <a:pt x="262486" y="717790"/>
                        <a:pt x="257475" y="727075"/>
                      </a:cubicBezTo>
                      <a:cubicBezTo>
                        <a:pt x="257475" y="727075"/>
                        <a:pt x="257475" y="727075"/>
                        <a:pt x="257475" y="112132"/>
                      </a:cubicBezTo>
                      <a:cubicBezTo>
                        <a:pt x="257475" y="106419"/>
                        <a:pt x="261055" y="100705"/>
                        <a:pt x="266065" y="97848"/>
                      </a:cubicBezTo>
                      <a:cubicBezTo>
                        <a:pt x="271791" y="94991"/>
                        <a:pt x="278233" y="95705"/>
                        <a:pt x="283243" y="99991"/>
                      </a:cubicBezTo>
                      <a:cubicBezTo>
                        <a:pt x="283243" y="99991"/>
                        <a:pt x="283243" y="99991"/>
                        <a:pt x="426393" y="213551"/>
                      </a:cubicBezTo>
                      <a:cubicBezTo>
                        <a:pt x="429972" y="215694"/>
                        <a:pt x="433551" y="216408"/>
                        <a:pt x="436414" y="216408"/>
                      </a:cubicBezTo>
                      <a:cubicBezTo>
                        <a:pt x="441424" y="216408"/>
                        <a:pt x="445718" y="214266"/>
                        <a:pt x="448581" y="210694"/>
                      </a:cubicBezTo>
                      <a:cubicBezTo>
                        <a:pt x="454307" y="203552"/>
                        <a:pt x="452876" y="194267"/>
                        <a:pt x="446434" y="188554"/>
                      </a:cubicBezTo>
                      <a:cubicBezTo>
                        <a:pt x="446434" y="188554"/>
                        <a:pt x="446434" y="188554"/>
                        <a:pt x="251749" y="34997"/>
                      </a:cubicBezTo>
                      <a:cubicBezTo>
                        <a:pt x="251749" y="34997"/>
                        <a:pt x="251034" y="34997"/>
                        <a:pt x="251034" y="34282"/>
                      </a:cubicBezTo>
                      <a:cubicBezTo>
                        <a:pt x="251034" y="34282"/>
                        <a:pt x="251034" y="34282"/>
                        <a:pt x="250318" y="34282"/>
                      </a:cubicBezTo>
                      <a:cubicBezTo>
                        <a:pt x="250318" y="34282"/>
                        <a:pt x="250318" y="34282"/>
                        <a:pt x="250318" y="33568"/>
                      </a:cubicBezTo>
                      <a:cubicBezTo>
                        <a:pt x="250318" y="33568"/>
                        <a:pt x="249602" y="33568"/>
                        <a:pt x="249602" y="33568"/>
                      </a:cubicBezTo>
                      <a:cubicBezTo>
                        <a:pt x="248886" y="33568"/>
                        <a:pt x="248886" y="33568"/>
                        <a:pt x="248886" y="32854"/>
                      </a:cubicBezTo>
                      <a:cubicBezTo>
                        <a:pt x="248886" y="32854"/>
                        <a:pt x="248886" y="32854"/>
                        <a:pt x="248171" y="32854"/>
                      </a:cubicBezTo>
                      <a:cubicBezTo>
                        <a:pt x="247455" y="32854"/>
                        <a:pt x="247455" y="32854"/>
                        <a:pt x="247455" y="32854"/>
                      </a:cubicBezTo>
                      <a:cubicBezTo>
                        <a:pt x="247455" y="32854"/>
                        <a:pt x="247455" y="32140"/>
                        <a:pt x="246739" y="32140"/>
                      </a:cubicBezTo>
                      <a:cubicBezTo>
                        <a:pt x="246739" y="32140"/>
                        <a:pt x="246739" y="32140"/>
                        <a:pt x="246023" y="32140"/>
                      </a:cubicBezTo>
                      <a:cubicBezTo>
                        <a:pt x="246023" y="32140"/>
                        <a:pt x="246023" y="32140"/>
                        <a:pt x="245308" y="32140"/>
                      </a:cubicBezTo>
                      <a:cubicBezTo>
                        <a:pt x="245308" y="32140"/>
                        <a:pt x="245308" y="32140"/>
                        <a:pt x="244592" y="31426"/>
                      </a:cubicBezTo>
                      <a:cubicBezTo>
                        <a:pt x="244592" y="31426"/>
                        <a:pt x="243876" y="31426"/>
                        <a:pt x="243876" y="31426"/>
                      </a:cubicBezTo>
                      <a:cubicBezTo>
                        <a:pt x="243876" y="31426"/>
                        <a:pt x="243876" y="31426"/>
                        <a:pt x="241729" y="31426"/>
                      </a:cubicBezTo>
                      <a:cubicBezTo>
                        <a:pt x="241729" y="31426"/>
                        <a:pt x="241729" y="31426"/>
                        <a:pt x="240297" y="31426"/>
                      </a:cubicBezTo>
                      <a:cubicBezTo>
                        <a:pt x="240297" y="31426"/>
                        <a:pt x="240297" y="31426"/>
                        <a:pt x="238150" y="32140"/>
                      </a:cubicBezTo>
                      <a:cubicBezTo>
                        <a:pt x="237434" y="32140"/>
                        <a:pt x="237434" y="32140"/>
                        <a:pt x="237434" y="32140"/>
                      </a:cubicBezTo>
                      <a:cubicBezTo>
                        <a:pt x="237434" y="32140"/>
                        <a:pt x="237434" y="32140"/>
                        <a:pt x="236718" y="32140"/>
                      </a:cubicBezTo>
                      <a:cubicBezTo>
                        <a:pt x="236003" y="32140"/>
                        <a:pt x="236003" y="32140"/>
                        <a:pt x="236003" y="32854"/>
                      </a:cubicBezTo>
                      <a:cubicBezTo>
                        <a:pt x="236003" y="32854"/>
                        <a:pt x="236003" y="32854"/>
                        <a:pt x="235287" y="32854"/>
                      </a:cubicBezTo>
                      <a:cubicBezTo>
                        <a:pt x="235287" y="32854"/>
                        <a:pt x="235287" y="32854"/>
                        <a:pt x="234571" y="32854"/>
                      </a:cubicBezTo>
                      <a:cubicBezTo>
                        <a:pt x="234571" y="33568"/>
                        <a:pt x="234571" y="33568"/>
                        <a:pt x="233855" y="33568"/>
                      </a:cubicBezTo>
                      <a:cubicBezTo>
                        <a:pt x="233855" y="33568"/>
                        <a:pt x="233855" y="33568"/>
                        <a:pt x="233140" y="34282"/>
                      </a:cubicBezTo>
                      <a:cubicBezTo>
                        <a:pt x="233140" y="34282"/>
                        <a:pt x="233140" y="34282"/>
                        <a:pt x="232424" y="34282"/>
                      </a:cubicBezTo>
                      <a:cubicBezTo>
                        <a:pt x="232424" y="34997"/>
                        <a:pt x="231708" y="34997"/>
                        <a:pt x="231708" y="34997"/>
                      </a:cubicBezTo>
                      <a:cubicBezTo>
                        <a:pt x="231708" y="34997"/>
                        <a:pt x="231708" y="34997"/>
                        <a:pt x="37024" y="188554"/>
                      </a:cubicBezTo>
                      <a:cubicBezTo>
                        <a:pt x="30582" y="194267"/>
                        <a:pt x="29151" y="203552"/>
                        <a:pt x="34877" y="210694"/>
                      </a:cubicBezTo>
                      <a:cubicBezTo>
                        <a:pt x="37740" y="214266"/>
                        <a:pt x="42034" y="216408"/>
                        <a:pt x="47044" y="216408"/>
                      </a:cubicBezTo>
                      <a:cubicBezTo>
                        <a:pt x="49907" y="216408"/>
                        <a:pt x="53486" y="215694"/>
                        <a:pt x="57065" y="213551"/>
                      </a:cubicBezTo>
                      <a:cubicBezTo>
                        <a:pt x="57065" y="213551"/>
                        <a:pt x="57065" y="213551"/>
                        <a:pt x="200215" y="99991"/>
                      </a:cubicBezTo>
                      <a:cubicBezTo>
                        <a:pt x="203078" y="97848"/>
                        <a:pt x="206657" y="96419"/>
                        <a:pt x="210236" y="96419"/>
                      </a:cubicBezTo>
                      <a:cubicBezTo>
                        <a:pt x="212383" y="96419"/>
                        <a:pt x="215246" y="97134"/>
                        <a:pt x="217393" y="97848"/>
                      </a:cubicBezTo>
                      <a:cubicBezTo>
                        <a:pt x="222403" y="100705"/>
                        <a:pt x="225982" y="106419"/>
                        <a:pt x="225982" y="112132"/>
                      </a:cubicBezTo>
                      <a:cubicBezTo>
                        <a:pt x="225982" y="112132"/>
                        <a:pt x="225982" y="112132"/>
                        <a:pt x="225982" y="727075"/>
                      </a:cubicBezTo>
                      <a:cubicBezTo>
                        <a:pt x="220972" y="717790"/>
                        <a:pt x="215962" y="708505"/>
                        <a:pt x="210236" y="699935"/>
                      </a:cubicBezTo>
                      <a:cubicBezTo>
                        <a:pt x="205225" y="692078"/>
                        <a:pt x="200215" y="683508"/>
                        <a:pt x="194489" y="675651"/>
                      </a:cubicBezTo>
                      <a:cubicBezTo>
                        <a:pt x="194489" y="675651"/>
                        <a:pt x="194489" y="675651"/>
                        <a:pt x="194489" y="144272"/>
                      </a:cubicBezTo>
                      <a:cubicBezTo>
                        <a:pt x="194489" y="144272"/>
                        <a:pt x="194489" y="144272"/>
                        <a:pt x="76390" y="237835"/>
                      </a:cubicBezTo>
                      <a:cubicBezTo>
                        <a:pt x="67801" y="244263"/>
                        <a:pt x="57781" y="247834"/>
                        <a:pt x="47044" y="247834"/>
                      </a:cubicBezTo>
                      <a:cubicBezTo>
                        <a:pt x="32729" y="247834"/>
                        <a:pt x="19130" y="241406"/>
                        <a:pt x="9825" y="229978"/>
                      </a:cubicBezTo>
                      <a:cubicBezTo>
                        <a:pt x="-5921" y="209980"/>
                        <a:pt x="-2342" y="179983"/>
                        <a:pt x="17699" y="164270"/>
                      </a:cubicBezTo>
                      <a:cubicBezTo>
                        <a:pt x="17699" y="164270"/>
                        <a:pt x="17699" y="164270"/>
                        <a:pt x="212383" y="9999"/>
                      </a:cubicBezTo>
                      <a:cubicBezTo>
                        <a:pt x="213099" y="9999"/>
                        <a:pt x="213099" y="9285"/>
                        <a:pt x="213814" y="9285"/>
                      </a:cubicBezTo>
                      <a:cubicBezTo>
                        <a:pt x="214530" y="8571"/>
                        <a:pt x="214530" y="8571"/>
                        <a:pt x="215246" y="7856"/>
                      </a:cubicBezTo>
                      <a:cubicBezTo>
                        <a:pt x="215246" y="7856"/>
                        <a:pt x="215962" y="7856"/>
                        <a:pt x="215962" y="7856"/>
                      </a:cubicBezTo>
                      <a:cubicBezTo>
                        <a:pt x="216677" y="7142"/>
                        <a:pt x="216677" y="7142"/>
                        <a:pt x="217393" y="7142"/>
                      </a:cubicBezTo>
                      <a:cubicBezTo>
                        <a:pt x="217393" y="7142"/>
                        <a:pt x="217393" y="7142"/>
                        <a:pt x="217393" y="6428"/>
                      </a:cubicBezTo>
                      <a:cubicBezTo>
                        <a:pt x="218109" y="6428"/>
                        <a:pt x="218825" y="5714"/>
                        <a:pt x="218825" y="5714"/>
                      </a:cubicBezTo>
                      <a:cubicBezTo>
                        <a:pt x="219540" y="5714"/>
                        <a:pt x="219540" y="5714"/>
                        <a:pt x="220256" y="4999"/>
                      </a:cubicBezTo>
                      <a:cubicBezTo>
                        <a:pt x="220256" y="4999"/>
                        <a:pt x="220972" y="4999"/>
                        <a:pt x="221688" y="4285"/>
                      </a:cubicBezTo>
                      <a:cubicBezTo>
                        <a:pt x="222403" y="4285"/>
                        <a:pt x="222403" y="4285"/>
                        <a:pt x="223119" y="3571"/>
                      </a:cubicBezTo>
                      <a:cubicBezTo>
                        <a:pt x="223835" y="3571"/>
                        <a:pt x="223835" y="3571"/>
                        <a:pt x="224551" y="3571"/>
                      </a:cubicBezTo>
                      <a:cubicBezTo>
                        <a:pt x="225266" y="2857"/>
                        <a:pt x="225266" y="2857"/>
                        <a:pt x="225982" y="2857"/>
                      </a:cubicBezTo>
                      <a:cubicBezTo>
                        <a:pt x="226698" y="2857"/>
                        <a:pt x="226698" y="2143"/>
                        <a:pt x="227414" y="2143"/>
                      </a:cubicBezTo>
                      <a:cubicBezTo>
                        <a:pt x="228129" y="2143"/>
                        <a:pt x="228129" y="2143"/>
                        <a:pt x="228129" y="2143"/>
                      </a:cubicBezTo>
                      <a:cubicBezTo>
                        <a:pt x="228845" y="1428"/>
                        <a:pt x="230277" y="1428"/>
                        <a:pt x="230992" y="1428"/>
                      </a:cubicBezTo>
                      <a:cubicBezTo>
                        <a:pt x="230992" y="1428"/>
                        <a:pt x="231708" y="1428"/>
                        <a:pt x="231708" y="714"/>
                      </a:cubicBezTo>
                      <a:cubicBezTo>
                        <a:pt x="232424" y="714"/>
                        <a:pt x="232424" y="714"/>
                        <a:pt x="233140" y="714"/>
                      </a:cubicBezTo>
                      <a:cubicBezTo>
                        <a:pt x="233855" y="714"/>
                        <a:pt x="234571" y="714"/>
                        <a:pt x="235287" y="714"/>
                      </a:cubicBezTo>
                      <a:cubicBezTo>
                        <a:pt x="236003" y="714"/>
                        <a:pt x="236003" y="0"/>
                        <a:pt x="2367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63" name="Freeform 95">
                  <a:extLst>
                    <a:ext uri="{FF2B5EF4-FFF2-40B4-BE49-F238E27FC236}">
                      <a16:creationId xmlns:a16="http://schemas.microsoft.com/office/drawing/2014/main" id="{C9676402-89B2-4A48-BF62-908B8B30D1E1}"/>
                    </a:ext>
                  </a:extLst>
                </p:cNvPr>
                <p:cNvSpPr>
                  <a:spLocks/>
                </p:cNvSpPr>
                <p:nvPr/>
              </p:nvSpPr>
              <p:spPr bwMode="auto">
                <a:xfrm>
                  <a:off x="5508625" y="3076575"/>
                  <a:ext cx="620713" cy="806450"/>
                </a:xfrm>
                <a:custGeom>
                  <a:avLst/>
                  <a:gdLst>
                    <a:gd name="T0" fmla="*/ 845 w 870"/>
                    <a:gd name="T1" fmla="*/ 841 h 1130"/>
                    <a:gd name="T2" fmla="*/ 811 w 870"/>
                    <a:gd name="T3" fmla="*/ 725 h 1130"/>
                    <a:gd name="T4" fmla="*/ 799 w 870"/>
                    <a:gd name="T5" fmla="*/ 694 h 1130"/>
                    <a:gd name="T6" fmla="*/ 757 w 870"/>
                    <a:gd name="T7" fmla="*/ 607 h 1130"/>
                    <a:gd name="T8" fmla="*/ 171 w 870"/>
                    <a:gd name="T9" fmla="*/ 200 h 1130"/>
                    <a:gd name="T10" fmla="*/ 367 w 870"/>
                    <a:gd name="T11" fmla="*/ 22 h 1130"/>
                    <a:gd name="T12" fmla="*/ 302 w 870"/>
                    <a:gd name="T13" fmla="*/ 7 h 1130"/>
                    <a:gd name="T14" fmla="*/ 21 w 870"/>
                    <a:gd name="T15" fmla="*/ 183 h 1130"/>
                    <a:gd name="T16" fmla="*/ 19 w 870"/>
                    <a:gd name="T17" fmla="*/ 185 h 1130"/>
                    <a:gd name="T18" fmla="*/ 15 w 870"/>
                    <a:gd name="T19" fmla="*/ 188 h 1130"/>
                    <a:gd name="T20" fmla="*/ 13 w 870"/>
                    <a:gd name="T21" fmla="*/ 190 h 1130"/>
                    <a:gd name="T22" fmla="*/ 12 w 870"/>
                    <a:gd name="T23" fmla="*/ 191 h 1130"/>
                    <a:gd name="T24" fmla="*/ 10 w 870"/>
                    <a:gd name="T25" fmla="*/ 194 h 1130"/>
                    <a:gd name="T26" fmla="*/ 8 w 870"/>
                    <a:gd name="T27" fmla="*/ 196 h 1130"/>
                    <a:gd name="T28" fmla="*/ 6 w 870"/>
                    <a:gd name="T29" fmla="*/ 198 h 1130"/>
                    <a:gd name="T30" fmla="*/ 5 w 870"/>
                    <a:gd name="T31" fmla="*/ 202 h 1130"/>
                    <a:gd name="T32" fmla="*/ 3 w 870"/>
                    <a:gd name="T33" fmla="*/ 204 h 1130"/>
                    <a:gd name="T34" fmla="*/ 3 w 870"/>
                    <a:gd name="T35" fmla="*/ 207 h 1130"/>
                    <a:gd name="T36" fmla="*/ 2 w 870"/>
                    <a:gd name="T37" fmla="*/ 210 h 1130"/>
                    <a:gd name="T38" fmla="*/ 1 w 870"/>
                    <a:gd name="T39" fmla="*/ 211 h 1130"/>
                    <a:gd name="T40" fmla="*/ 1 w 870"/>
                    <a:gd name="T41" fmla="*/ 215 h 1130"/>
                    <a:gd name="T42" fmla="*/ 0 w 870"/>
                    <a:gd name="T43" fmla="*/ 215 h 1130"/>
                    <a:gd name="T44" fmla="*/ 0 w 870"/>
                    <a:gd name="T45" fmla="*/ 219 h 1130"/>
                    <a:gd name="T46" fmla="*/ 0 w 870"/>
                    <a:gd name="T47" fmla="*/ 222 h 1130"/>
                    <a:gd name="T48" fmla="*/ 0 w 870"/>
                    <a:gd name="T49" fmla="*/ 225 h 1130"/>
                    <a:gd name="T50" fmla="*/ 0 w 870"/>
                    <a:gd name="T51" fmla="*/ 228 h 1130"/>
                    <a:gd name="T52" fmla="*/ 1 w 870"/>
                    <a:gd name="T53" fmla="*/ 231 h 1130"/>
                    <a:gd name="T54" fmla="*/ 1 w 870"/>
                    <a:gd name="T55" fmla="*/ 234 h 1130"/>
                    <a:gd name="T56" fmla="*/ 2 w 870"/>
                    <a:gd name="T57" fmla="*/ 237 h 1130"/>
                    <a:gd name="T58" fmla="*/ 3 w 870"/>
                    <a:gd name="T59" fmla="*/ 240 h 1130"/>
                    <a:gd name="T60" fmla="*/ 4 w 870"/>
                    <a:gd name="T61" fmla="*/ 242 h 1130"/>
                    <a:gd name="T62" fmla="*/ 6 w 870"/>
                    <a:gd name="T63" fmla="*/ 246 h 1130"/>
                    <a:gd name="T64" fmla="*/ 211 w 870"/>
                    <a:gd name="T65" fmla="*/ 556 h 1130"/>
                    <a:gd name="T66" fmla="*/ 251 w 870"/>
                    <a:gd name="T67" fmla="*/ 486 h 1130"/>
                    <a:gd name="T68" fmla="*/ 752 w 870"/>
                    <a:gd name="T69" fmla="*/ 858 h 1130"/>
                    <a:gd name="T70" fmla="*/ 765 w 870"/>
                    <a:gd name="T71" fmla="*/ 922 h 1130"/>
                    <a:gd name="T72" fmla="*/ 819 w 870"/>
                    <a:gd name="T73" fmla="*/ 1130 h 1130"/>
                    <a:gd name="T74" fmla="*/ 827 w 870"/>
                    <a:gd name="T75" fmla="*/ 1130 h 1130"/>
                    <a:gd name="T76" fmla="*/ 867 w 870"/>
                    <a:gd name="T77" fmla="*/ 999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0" h="1130">
                      <a:moveTo>
                        <a:pt x="867" y="999"/>
                      </a:moveTo>
                      <a:cubicBezTo>
                        <a:pt x="863" y="944"/>
                        <a:pt x="856" y="891"/>
                        <a:pt x="845" y="841"/>
                      </a:cubicBezTo>
                      <a:cubicBezTo>
                        <a:pt x="839" y="813"/>
                        <a:pt x="831" y="786"/>
                        <a:pt x="823" y="759"/>
                      </a:cubicBezTo>
                      <a:cubicBezTo>
                        <a:pt x="819" y="748"/>
                        <a:pt x="815" y="736"/>
                        <a:pt x="811" y="725"/>
                      </a:cubicBezTo>
                      <a:cubicBezTo>
                        <a:pt x="808" y="716"/>
                        <a:pt x="805" y="707"/>
                        <a:pt x="801" y="698"/>
                      </a:cubicBezTo>
                      <a:cubicBezTo>
                        <a:pt x="800" y="697"/>
                        <a:pt x="800" y="696"/>
                        <a:pt x="799" y="694"/>
                      </a:cubicBezTo>
                      <a:cubicBezTo>
                        <a:pt x="793" y="679"/>
                        <a:pt x="786" y="664"/>
                        <a:pt x="779" y="649"/>
                      </a:cubicBezTo>
                      <a:cubicBezTo>
                        <a:pt x="772" y="635"/>
                        <a:pt x="765" y="621"/>
                        <a:pt x="757" y="607"/>
                      </a:cubicBezTo>
                      <a:cubicBezTo>
                        <a:pt x="724" y="548"/>
                        <a:pt x="683" y="495"/>
                        <a:pt x="635" y="447"/>
                      </a:cubicBezTo>
                      <a:cubicBezTo>
                        <a:pt x="520" y="330"/>
                        <a:pt x="364" y="248"/>
                        <a:pt x="171" y="200"/>
                      </a:cubicBezTo>
                      <a:cubicBezTo>
                        <a:pt x="352" y="87"/>
                        <a:pt x="352" y="87"/>
                        <a:pt x="352" y="87"/>
                      </a:cubicBezTo>
                      <a:cubicBezTo>
                        <a:pt x="374" y="73"/>
                        <a:pt x="380" y="44"/>
                        <a:pt x="367" y="22"/>
                      </a:cubicBezTo>
                      <a:cubicBezTo>
                        <a:pt x="358" y="8"/>
                        <a:pt x="343" y="0"/>
                        <a:pt x="327" y="0"/>
                      </a:cubicBezTo>
                      <a:cubicBezTo>
                        <a:pt x="319" y="0"/>
                        <a:pt x="310" y="2"/>
                        <a:pt x="302" y="7"/>
                      </a:cubicBezTo>
                      <a:cubicBezTo>
                        <a:pt x="22" y="183"/>
                        <a:pt x="22" y="183"/>
                        <a:pt x="22" y="183"/>
                      </a:cubicBezTo>
                      <a:cubicBezTo>
                        <a:pt x="21" y="183"/>
                        <a:pt x="21" y="183"/>
                        <a:pt x="21" y="183"/>
                      </a:cubicBezTo>
                      <a:cubicBezTo>
                        <a:pt x="21" y="183"/>
                        <a:pt x="21" y="183"/>
                        <a:pt x="21" y="184"/>
                      </a:cubicBezTo>
                      <a:cubicBezTo>
                        <a:pt x="20" y="184"/>
                        <a:pt x="19" y="184"/>
                        <a:pt x="19" y="185"/>
                      </a:cubicBezTo>
                      <a:cubicBezTo>
                        <a:pt x="18" y="185"/>
                        <a:pt x="17" y="186"/>
                        <a:pt x="17" y="186"/>
                      </a:cubicBezTo>
                      <a:cubicBezTo>
                        <a:pt x="16" y="187"/>
                        <a:pt x="16" y="187"/>
                        <a:pt x="15" y="188"/>
                      </a:cubicBezTo>
                      <a:cubicBezTo>
                        <a:pt x="14" y="188"/>
                        <a:pt x="14" y="189"/>
                        <a:pt x="13" y="189"/>
                      </a:cubicBezTo>
                      <a:cubicBezTo>
                        <a:pt x="13" y="189"/>
                        <a:pt x="13" y="190"/>
                        <a:pt x="13" y="190"/>
                      </a:cubicBezTo>
                      <a:cubicBezTo>
                        <a:pt x="13" y="190"/>
                        <a:pt x="13" y="190"/>
                        <a:pt x="13" y="190"/>
                      </a:cubicBezTo>
                      <a:cubicBezTo>
                        <a:pt x="12" y="191"/>
                        <a:pt x="12" y="191"/>
                        <a:pt x="12" y="191"/>
                      </a:cubicBezTo>
                      <a:cubicBezTo>
                        <a:pt x="11" y="192"/>
                        <a:pt x="11" y="192"/>
                        <a:pt x="10" y="193"/>
                      </a:cubicBezTo>
                      <a:cubicBezTo>
                        <a:pt x="10" y="193"/>
                        <a:pt x="10" y="193"/>
                        <a:pt x="10" y="194"/>
                      </a:cubicBezTo>
                      <a:cubicBezTo>
                        <a:pt x="9" y="194"/>
                        <a:pt x="9" y="194"/>
                        <a:pt x="9" y="195"/>
                      </a:cubicBezTo>
                      <a:cubicBezTo>
                        <a:pt x="9" y="195"/>
                        <a:pt x="8" y="196"/>
                        <a:pt x="8" y="196"/>
                      </a:cubicBezTo>
                      <a:cubicBezTo>
                        <a:pt x="7" y="197"/>
                        <a:pt x="7" y="197"/>
                        <a:pt x="7" y="198"/>
                      </a:cubicBezTo>
                      <a:cubicBezTo>
                        <a:pt x="7" y="198"/>
                        <a:pt x="7" y="198"/>
                        <a:pt x="6" y="198"/>
                      </a:cubicBezTo>
                      <a:cubicBezTo>
                        <a:pt x="6" y="199"/>
                        <a:pt x="6" y="200"/>
                        <a:pt x="5" y="200"/>
                      </a:cubicBezTo>
                      <a:cubicBezTo>
                        <a:pt x="5" y="201"/>
                        <a:pt x="5" y="201"/>
                        <a:pt x="5" y="202"/>
                      </a:cubicBezTo>
                      <a:cubicBezTo>
                        <a:pt x="5" y="202"/>
                        <a:pt x="4" y="202"/>
                        <a:pt x="4" y="202"/>
                      </a:cubicBezTo>
                      <a:cubicBezTo>
                        <a:pt x="4" y="203"/>
                        <a:pt x="4" y="204"/>
                        <a:pt x="3" y="204"/>
                      </a:cubicBezTo>
                      <a:cubicBezTo>
                        <a:pt x="3" y="205"/>
                        <a:pt x="3" y="205"/>
                        <a:pt x="3" y="206"/>
                      </a:cubicBezTo>
                      <a:cubicBezTo>
                        <a:pt x="3" y="206"/>
                        <a:pt x="3" y="206"/>
                        <a:pt x="3" y="207"/>
                      </a:cubicBezTo>
                      <a:cubicBezTo>
                        <a:pt x="2" y="207"/>
                        <a:pt x="2" y="208"/>
                        <a:pt x="2" y="209"/>
                      </a:cubicBezTo>
                      <a:cubicBezTo>
                        <a:pt x="2" y="209"/>
                        <a:pt x="2" y="210"/>
                        <a:pt x="2" y="210"/>
                      </a:cubicBezTo>
                      <a:cubicBezTo>
                        <a:pt x="1" y="210"/>
                        <a:pt x="1" y="210"/>
                        <a:pt x="1" y="210"/>
                      </a:cubicBezTo>
                      <a:cubicBezTo>
                        <a:pt x="1" y="211"/>
                        <a:pt x="1" y="211"/>
                        <a:pt x="1" y="211"/>
                      </a:cubicBezTo>
                      <a:cubicBezTo>
                        <a:pt x="1" y="212"/>
                        <a:pt x="1" y="212"/>
                        <a:pt x="1" y="213"/>
                      </a:cubicBezTo>
                      <a:cubicBezTo>
                        <a:pt x="1" y="214"/>
                        <a:pt x="1" y="214"/>
                        <a:pt x="1" y="215"/>
                      </a:cubicBezTo>
                      <a:cubicBezTo>
                        <a:pt x="1" y="215"/>
                        <a:pt x="1" y="215"/>
                        <a:pt x="1" y="215"/>
                      </a:cubicBezTo>
                      <a:cubicBezTo>
                        <a:pt x="0" y="215"/>
                        <a:pt x="0" y="215"/>
                        <a:pt x="0" y="215"/>
                      </a:cubicBezTo>
                      <a:cubicBezTo>
                        <a:pt x="0" y="216"/>
                        <a:pt x="0" y="217"/>
                        <a:pt x="0" y="218"/>
                      </a:cubicBezTo>
                      <a:cubicBezTo>
                        <a:pt x="0" y="218"/>
                        <a:pt x="0" y="219"/>
                        <a:pt x="0" y="219"/>
                      </a:cubicBezTo>
                      <a:cubicBezTo>
                        <a:pt x="0" y="220"/>
                        <a:pt x="0" y="220"/>
                        <a:pt x="0" y="220"/>
                      </a:cubicBezTo>
                      <a:cubicBezTo>
                        <a:pt x="0" y="221"/>
                        <a:pt x="0" y="221"/>
                        <a:pt x="0" y="222"/>
                      </a:cubicBezTo>
                      <a:cubicBezTo>
                        <a:pt x="0" y="223"/>
                        <a:pt x="0" y="223"/>
                        <a:pt x="0" y="224"/>
                      </a:cubicBezTo>
                      <a:cubicBezTo>
                        <a:pt x="0" y="224"/>
                        <a:pt x="0" y="224"/>
                        <a:pt x="0" y="225"/>
                      </a:cubicBezTo>
                      <a:cubicBezTo>
                        <a:pt x="0" y="225"/>
                        <a:pt x="0" y="226"/>
                        <a:pt x="0" y="227"/>
                      </a:cubicBezTo>
                      <a:cubicBezTo>
                        <a:pt x="0" y="227"/>
                        <a:pt x="0" y="228"/>
                        <a:pt x="0" y="228"/>
                      </a:cubicBezTo>
                      <a:cubicBezTo>
                        <a:pt x="0" y="229"/>
                        <a:pt x="0" y="229"/>
                        <a:pt x="0" y="229"/>
                      </a:cubicBezTo>
                      <a:cubicBezTo>
                        <a:pt x="0" y="230"/>
                        <a:pt x="1" y="230"/>
                        <a:pt x="1" y="231"/>
                      </a:cubicBezTo>
                      <a:cubicBezTo>
                        <a:pt x="1" y="232"/>
                        <a:pt x="1" y="232"/>
                        <a:pt x="1" y="233"/>
                      </a:cubicBezTo>
                      <a:cubicBezTo>
                        <a:pt x="1" y="233"/>
                        <a:pt x="1" y="233"/>
                        <a:pt x="1" y="234"/>
                      </a:cubicBezTo>
                      <a:cubicBezTo>
                        <a:pt x="1" y="234"/>
                        <a:pt x="2" y="235"/>
                        <a:pt x="2" y="236"/>
                      </a:cubicBezTo>
                      <a:cubicBezTo>
                        <a:pt x="2" y="236"/>
                        <a:pt x="2" y="237"/>
                        <a:pt x="2" y="237"/>
                      </a:cubicBezTo>
                      <a:cubicBezTo>
                        <a:pt x="2" y="238"/>
                        <a:pt x="3" y="238"/>
                        <a:pt x="3" y="238"/>
                      </a:cubicBezTo>
                      <a:cubicBezTo>
                        <a:pt x="3" y="239"/>
                        <a:pt x="3" y="239"/>
                        <a:pt x="3" y="240"/>
                      </a:cubicBezTo>
                      <a:cubicBezTo>
                        <a:pt x="4" y="241"/>
                        <a:pt x="4" y="241"/>
                        <a:pt x="4" y="242"/>
                      </a:cubicBezTo>
                      <a:cubicBezTo>
                        <a:pt x="4" y="242"/>
                        <a:pt x="4" y="242"/>
                        <a:pt x="4" y="242"/>
                      </a:cubicBezTo>
                      <a:cubicBezTo>
                        <a:pt x="5" y="243"/>
                        <a:pt x="5" y="244"/>
                        <a:pt x="5" y="244"/>
                      </a:cubicBezTo>
                      <a:cubicBezTo>
                        <a:pt x="6" y="245"/>
                        <a:pt x="6" y="245"/>
                        <a:pt x="6" y="246"/>
                      </a:cubicBezTo>
                      <a:cubicBezTo>
                        <a:pt x="170" y="533"/>
                        <a:pt x="170" y="533"/>
                        <a:pt x="170" y="533"/>
                      </a:cubicBezTo>
                      <a:cubicBezTo>
                        <a:pt x="179" y="548"/>
                        <a:pt x="195" y="556"/>
                        <a:pt x="211" y="556"/>
                      </a:cubicBezTo>
                      <a:cubicBezTo>
                        <a:pt x="219" y="556"/>
                        <a:pt x="227" y="554"/>
                        <a:pt x="234" y="550"/>
                      </a:cubicBezTo>
                      <a:cubicBezTo>
                        <a:pt x="256" y="537"/>
                        <a:pt x="264" y="509"/>
                        <a:pt x="251" y="486"/>
                      </a:cubicBezTo>
                      <a:cubicBezTo>
                        <a:pt x="138" y="289"/>
                        <a:pt x="138" y="289"/>
                        <a:pt x="138" y="289"/>
                      </a:cubicBezTo>
                      <a:cubicBezTo>
                        <a:pt x="400" y="352"/>
                        <a:pt x="672" y="504"/>
                        <a:pt x="752" y="858"/>
                      </a:cubicBezTo>
                      <a:cubicBezTo>
                        <a:pt x="754" y="865"/>
                        <a:pt x="756" y="872"/>
                        <a:pt x="757" y="879"/>
                      </a:cubicBezTo>
                      <a:cubicBezTo>
                        <a:pt x="760" y="893"/>
                        <a:pt x="762" y="908"/>
                        <a:pt x="765" y="922"/>
                      </a:cubicBezTo>
                      <a:cubicBezTo>
                        <a:pt x="772" y="972"/>
                        <a:pt x="776" y="1026"/>
                        <a:pt x="776" y="1083"/>
                      </a:cubicBezTo>
                      <a:cubicBezTo>
                        <a:pt x="776" y="1108"/>
                        <a:pt x="795" y="1128"/>
                        <a:pt x="819" y="1130"/>
                      </a:cubicBezTo>
                      <a:cubicBezTo>
                        <a:pt x="820" y="1130"/>
                        <a:pt x="821" y="1130"/>
                        <a:pt x="823" y="1130"/>
                      </a:cubicBezTo>
                      <a:cubicBezTo>
                        <a:pt x="825" y="1130"/>
                        <a:pt x="826" y="1130"/>
                        <a:pt x="827" y="1130"/>
                      </a:cubicBezTo>
                      <a:cubicBezTo>
                        <a:pt x="851" y="1128"/>
                        <a:pt x="870" y="1108"/>
                        <a:pt x="870" y="1083"/>
                      </a:cubicBezTo>
                      <a:cubicBezTo>
                        <a:pt x="870" y="1054"/>
                        <a:pt x="869" y="1026"/>
                        <a:pt x="867" y="99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76" name="Group 75">
            <a:extLst>
              <a:ext uri="{FF2B5EF4-FFF2-40B4-BE49-F238E27FC236}">
                <a16:creationId xmlns:a16="http://schemas.microsoft.com/office/drawing/2014/main" id="{FA50AC53-CDAD-5742-9C85-7D86B0454A5E}"/>
              </a:ext>
            </a:extLst>
          </p:cNvPr>
          <p:cNvGrpSpPr/>
          <p:nvPr/>
        </p:nvGrpSpPr>
        <p:grpSpPr>
          <a:xfrm>
            <a:off x="4208289" y="2256363"/>
            <a:ext cx="1640659" cy="1640659"/>
            <a:chOff x="6113040" y="1748902"/>
            <a:chExt cx="1640659" cy="1640659"/>
          </a:xfrm>
        </p:grpSpPr>
        <p:sp>
          <p:nvSpPr>
            <p:cNvPr id="77" name="Oval 76">
              <a:extLst>
                <a:ext uri="{FF2B5EF4-FFF2-40B4-BE49-F238E27FC236}">
                  <a16:creationId xmlns:a16="http://schemas.microsoft.com/office/drawing/2014/main" id="{107CE59E-8B38-A14D-91E2-F589E098FD50}"/>
                </a:ext>
              </a:extLst>
            </p:cNvPr>
            <p:cNvSpPr>
              <a:spLocks noChangeAspect="1"/>
            </p:cNvSpPr>
            <p:nvPr/>
          </p:nvSpPr>
          <p:spPr>
            <a:xfrm>
              <a:off x="6113040" y="1748902"/>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78" name="Group 77">
              <a:extLst>
                <a:ext uri="{FF2B5EF4-FFF2-40B4-BE49-F238E27FC236}">
                  <a16:creationId xmlns:a16="http://schemas.microsoft.com/office/drawing/2014/main" id="{357B653C-6335-AC43-8B67-178B3CC2E868}"/>
                </a:ext>
              </a:extLst>
            </p:cNvPr>
            <p:cNvGrpSpPr>
              <a:grpSpLocks noChangeAspect="1"/>
            </p:cNvGrpSpPr>
            <p:nvPr/>
          </p:nvGrpSpPr>
          <p:grpSpPr>
            <a:xfrm>
              <a:off x="6309233" y="1945696"/>
              <a:ext cx="1248274" cy="1247070"/>
              <a:chOff x="6464300" y="2606675"/>
              <a:chExt cx="1646238" cy="1644650"/>
            </a:xfrm>
          </p:grpSpPr>
          <p:sp>
            <p:nvSpPr>
              <p:cNvPr id="79" name="AutoShape 15">
                <a:extLst>
                  <a:ext uri="{FF2B5EF4-FFF2-40B4-BE49-F238E27FC236}">
                    <a16:creationId xmlns:a16="http://schemas.microsoft.com/office/drawing/2014/main" id="{C82B7771-B9A8-A145-A1CE-134EF9CD690C}"/>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0" name="Group 79">
                <a:extLst>
                  <a:ext uri="{FF2B5EF4-FFF2-40B4-BE49-F238E27FC236}">
                    <a16:creationId xmlns:a16="http://schemas.microsoft.com/office/drawing/2014/main" id="{EC43FE9B-B342-C341-A78A-E9419C8CE93E}"/>
                  </a:ext>
                </a:extLst>
              </p:cNvPr>
              <p:cNvGrpSpPr/>
              <p:nvPr/>
            </p:nvGrpSpPr>
            <p:grpSpPr>
              <a:xfrm>
                <a:off x="6635750" y="2963862"/>
                <a:ext cx="1367015" cy="1238250"/>
                <a:chOff x="6635750" y="2963862"/>
                <a:chExt cx="1367015" cy="1238250"/>
              </a:xfrm>
            </p:grpSpPr>
            <p:sp>
              <p:nvSpPr>
                <p:cNvPr id="81" name="Freeform 80">
                  <a:extLst>
                    <a:ext uri="{FF2B5EF4-FFF2-40B4-BE49-F238E27FC236}">
                      <a16:creationId xmlns:a16="http://schemas.microsoft.com/office/drawing/2014/main" id="{F041B6D3-0743-E64C-A0BA-3B116E60C972}"/>
                    </a:ext>
                  </a:extLst>
                </p:cNvPr>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2" name="Freeform 81">
                  <a:extLst>
                    <a:ext uri="{FF2B5EF4-FFF2-40B4-BE49-F238E27FC236}">
                      <a16:creationId xmlns:a16="http://schemas.microsoft.com/office/drawing/2014/main" id="{494EF58A-FA6F-E84E-BF4E-E589819A5518}"/>
                    </a:ext>
                  </a:extLst>
                </p:cNvPr>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4" name="Group 3"/>
          <p:cNvGrpSpPr/>
          <p:nvPr/>
        </p:nvGrpSpPr>
        <p:grpSpPr>
          <a:xfrm>
            <a:off x="9922542" y="2256363"/>
            <a:ext cx="1640659" cy="1640659"/>
            <a:chOff x="9922542" y="1748902"/>
            <a:chExt cx="1640659" cy="1640659"/>
          </a:xfrm>
        </p:grpSpPr>
        <p:sp>
          <p:nvSpPr>
            <p:cNvPr id="46" name="Oval 45"/>
            <p:cNvSpPr>
              <a:spLocks noChangeAspect="1"/>
            </p:cNvSpPr>
            <p:nvPr/>
          </p:nvSpPr>
          <p:spPr>
            <a:xfrm>
              <a:off x="9922542" y="1748902"/>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36" name="Group 35"/>
            <p:cNvGrpSpPr>
              <a:grpSpLocks noChangeAspect="1"/>
            </p:cNvGrpSpPr>
            <p:nvPr/>
          </p:nvGrpSpPr>
          <p:grpSpPr>
            <a:xfrm>
              <a:off x="10119336" y="1945697"/>
              <a:ext cx="1247070" cy="1247070"/>
              <a:chOff x="5273675" y="2570163"/>
              <a:chExt cx="1644650" cy="1644650"/>
            </a:xfrm>
          </p:grpSpPr>
          <p:sp>
            <p:nvSpPr>
              <p:cNvPr id="37" name="AutoShape 3"/>
              <p:cNvSpPr>
                <a:spLocks noChangeAspect="1" noChangeArrowheads="1" noTextEdit="1"/>
              </p:cNvSpPr>
              <p:nvPr/>
            </p:nvSpPr>
            <p:spPr bwMode="auto">
              <a:xfrm>
                <a:off x="5273675" y="257016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 name="Group 37"/>
              <p:cNvGrpSpPr/>
              <p:nvPr/>
            </p:nvGrpSpPr>
            <p:grpSpPr>
              <a:xfrm>
                <a:off x="5659438" y="2738438"/>
                <a:ext cx="874713" cy="1306513"/>
                <a:chOff x="5659438" y="2738438"/>
                <a:chExt cx="874713" cy="1306513"/>
              </a:xfrm>
            </p:grpSpPr>
            <p:sp>
              <p:nvSpPr>
                <p:cNvPr id="39" name="Freeform 38"/>
                <p:cNvSpPr>
                  <a:spLocks/>
                </p:cNvSpPr>
                <p:nvPr/>
              </p:nvSpPr>
              <p:spPr bwMode="auto">
                <a:xfrm>
                  <a:off x="5659438" y="2738438"/>
                  <a:ext cx="874713" cy="865188"/>
                </a:xfrm>
                <a:custGeom>
                  <a:avLst/>
                  <a:gdLst>
                    <a:gd name="connsiteX0" fmla="*/ 79375 w 874713"/>
                    <a:gd name="connsiteY0" fmla="*/ 58738 h 865188"/>
                    <a:gd name="connsiteX1" fmla="*/ 79375 w 874713"/>
                    <a:gd name="connsiteY1" fmla="*/ 833438 h 865188"/>
                    <a:gd name="connsiteX2" fmla="*/ 795338 w 874713"/>
                    <a:gd name="connsiteY2" fmla="*/ 833438 h 865188"/>
                    <a:gd name="connsiteX3" fmla="*/ 795338 w 874713"/>
                    <a:gd name="connsiteY3" fmla="*/ 58738 h 865188"/>
                    <a:gd name="connsiteX4" fmla="*/ 29300 w 874713"/>
                    <a:gd name="connsiteY4" fmla="*/ 0 h 865188"/>
                    <a:gd name="connsiteX5" fmla="*/ 845413 w 874713"/>
                    <a:gd name="connsiteY5" fmla="*/ 0 h 865188"/>
                    <a:gd name="connsiteX6" fmla="*/ 856133 w 874713"/>
                    <a:gd name="connsiteY6" fmla="*/ 2140 h 865188"/>
                    <a:gd name="connsiteX7" fmla="*/ 874713 w 874713"/>
                    <a:gd name="connsiteY7" fmla="*/ 29244 h 865188"/>
                    <a:gd name="connsiteX8" fmla="*/ 858277 w 874713"/>
                    <a:gd name="connsiteY8" fmla="*/ 55635 h 865188"/>
                    <a:gd name="connsiteX9" fmla="*/ 845413 w 874713"/>
                    <a:gd name="connsiteY9" fmla="*/ 59201 h 865188"/>
                    <a:gd name="connsiteX10" fmla="*/ 826833 w 874713"/>
                    <a:gd name="connsiteY10" fmla="*/ 59201 h 865188"/>
                    <a:gd name="connsiteX11" fmla="*/ 826833 w 874713"/>
                    <a:gd name="connsiteY11" fmla="*/ 849496 h 865188"/>
                    <a:gd name="connsiteX12" fmla="*/ 813255 w 874713"/>
                    <a:gd name="connsiteY12" fmla="*/ 865188 h 865188"/>
                    <a:gd name="connsiteX13" fmla="*/ 811111 w 874713"/>
                    <a:gd name="connsiteY13" fmla="*/ 865188 h 865188"/>
                    <a:gd name="connsiteX14" fmla="*/ 450935 w 874713"/>
                    <a:gd name="connsiteY14" fmla="*/ 865188 h 865188"/>
                    <a:gd name="connsiteX15" fmla="*/ 423779 w 874713"/>
                    <a:gd name="connsiteY15" fmla="*/ 865188 h 865188"/>
                    <a:gd name="connsiteX16" fmla="*/ 63603 w 874713"/>
                    <a:gd name="connsiteY16" fmla="*/ 865188 h 865188"/>
                    <a:gd name="connsiteX17" fmla="*/ 61459 w 874713"/>
                    <a:gd name="connsiteY17" fmla="*/ 865188 h 865188"/>
                    <a:gd name="connsiteX18" fmla="*/ 47881 w 874713"/>
                    <a:gd name="connsiteY18" fmla="*/ 849496 h 865188"/>
                    <a:gd name="connsiteX19" fmla="*/ 47881 w 874713"/>
                    <a:gd name="connsiteY19" fmla="*/ 59201 h 865188"/>
                    <a:gd name="connsiteX20" fmla="*/ 29300 w 874713"/>
                    <a:gd name="connsiteY20" fmla="*/ 59201 h 865188"/>
                    <a:gd name="connsiteX21" fmla="*/ 16437 w 874713"/>
                    <a:gd name="connsiteY21" fmla="*/ 55635 h 865188"/>
                    <a:gd name="connsiteX22" fmla="*/ 0 w 874713"/>
                    <a:gd name="connsiteY22" fmla="*/ 29244 h 865188"/>
                    <a:gd name="connsiteX23" fmla="*/ 18581 w 874713"/>
                    <a:gd name="connsiteY23" fmla="*/ 2140 h 865188"/>
                    <a:gd name="connsiteX24" fmla="*/ 29300 w 874713"/>
                    <a:gd name="connsiteY24" fmla="*/ 0 h 86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74713" h="865188">
                      <a:moveTo>
                        <a:pt x="79375" y="58738"/>
                      </a:moveTo>
                      <a:lnTo>
                        <a:pt x="79375" y="833438"/>
                      </a:lnTo>
                      <a:lnTo>
                        <a:pt x="795338" y="833438"/>
                      </a:lnTo>
                      <a:lnTo>
                        <a:pt x="795338" y="58738"/>
                      </a:lnTo>
                      <a:close/>
                      <a:moveTo>
                        <a:pt x="29300" y="0"/>
                      </a:moveTo>
                      <a:cubicBezTo>
                        <a:pt x="29300" y="0"/>
                        <a:pt x="29300" y="0"/>
                        <a:pt x="845413" y="0"/>
                      </a:cubicBezTo>
                      <a:cubicBezTo>
                        <a:pt x="848986" y="0"/>
                        <a:pt x="852560" y="713"/>
                        <a:pt x="856133" y="2140"/>
                      </a:cubicBezTo>
                      <a:cubicBezTo>
                        <a:pt x="866852" y="6419"/>
                        <a:pt x="874713" y="17118"/>
                        <a:pt x="874713" y="29244"/>
                      </a:cubicBezTo>
                      <a:cubicBezTo>
                        <a:pt x="874713" y="40656"/>
                        <a:pt x="868282" y="50642"/>
                        <a:pt x="858277" y="55635"/>
                      </a:cubicBezTo>
                      <a:cubicBezTo>
                        <a:pt x="854703" y="57774"/>
                        <a:pt x="849701" y="59201"/>
                        <a:pt x="845413" y="59201"/>
                      </a:cubicBezTo>
                      <a:cubicBezTo>
                        <a:pt x="845413" y="59201"/>
                        <a:pt x="845413" y="59201"/>
                        <a:pt x="826833" y="59201"/>
                      </a:cubicBezTo>
                      <a:cubicBezTo>
                        <a:pt x="826833" y="59201"/>
                        <a:pt x="826833" y="59201"/>
                        <a:pt x="826833" y="849496"/>
                      </a:cubicBezTo>
                      <a:cubicBezTo>
                        <a:pt x="826833" y="858056"/>
                        <a:pt x="821116" y="864475"/>
                        <a:pt x="813255" y="865188"/>
                      </a:cubicBezTo>
                      <a:cubicBezTo>
                        <a:pt x="812540" y="865188"/>
                        <a:pt x="811825" y="865188"/>
                        <a:pt x="811111" y="865188"/>
                      </a:cubicBezTo>
                      <a:cubicBezTo>
                        <a:pt x="811111" y="865188"/>
                        <a:pt x="811111" y="865188"/>
                        <a:pt x="450935" y="865188"/>
                      </a:cubicBezTo>
                      <a:cubicBezTo>
                        <a:pt x="450935" y="865188"/>
                        <a:pt x="450935" y="865188"/>
                        <a:pt x="423779" y="865188"/>
                      </a:cubicBezTo>
                      <a:cubicBezTo>
                        <a:pt x="423779" y="865188"/>
                        <a:pt x="423779" y="865188"/>
                        <a:pt x="63603" y="865188"/>
                      </a:cubicBezTo>
                      <a:cubicBezTo>
                        <a:pt x="62888" y="865188"/>
                        <a:pt x="62173" y="865188"/>
                        <a:pt x="61459" y="865188"/>
                      </a:cubicBezTo>
                      <a:cubicBezTo>
                        <a:pt x="53598" y="864475"/>
                        <a:pt x="47881" y="858056"/>
                        <a:pt x="47881" y="849496"/>
                      </a:cubicBezTo>
                      <a:cubicBezTo>
                        <a:pt x="47881" y="849496"/>
                        <a:pt x="47881" y="849496"/>
                        <a:pt x="47881" y="59201"/>
                      </a:cubicBezTo>
                      <a:cubicBezTo>
                        <a:pt x="47881" y="59201"/>
                        <a:pt x="47881" y="59201"/>
                        <a:pt x="29300" y="59201"/>
                      </a:cubicBezTo>
                      <a:cubicBezTo>
                        <a:pt x="25012" y="59201"/>
                        <a:pt x="20010" y="57774"/>
                        <a:pt x="16437" y="55635"/>
                      </a:cubicBezTo>
                      <a:cubicBezTo>
                        <a:pt x="6432" y="50642"/>
                        <a:pt x="0" y="40656"/>
                        <a:pt x="0" y="29244"/>
                      </a:cubicBezTo>
                      <a:cubicBezTo>
                        <a:pt x="0" y="17118"/>
                        <a:pt x="7861" y="6419"/>
                        <a:pt x="18581" y="2140"/>
                      </a:cubicBezTo>
                      <a:cubicBezTo>
                        <a:pt x="22154" y="713"/>
                        <a:pt x="25727" y="0"/>
                        <a:pt x="2930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0" name="Freeform 39"/>
                <p:cNvSpPr>
                  <a:spLocks/>
                </p:cNvSpPr>
                <p:nvPr/>
              </p:nvSpPr>
              <p:spPr bwMode="auto">
                <a:xfrm>
                  <a:off x="5789613" y="2852738"/>
                  <a:ext cx="614363" cy="1192213"/>
                </a:xfrm>
                <a:custGeom>
                  <a:avLst/>
                  <a:gdLst>
                    <a:gd name="connsiteX0" fmla="*/ 273711 w 614363"/>
                    <a:gd name="connsiteY0" fmla="*/ 782638 h 1192213"/>
                    <a:gd name="connsiteX1" fmla="*/ 303621 w 614363"/>
                    <a:gd name="connsiteY1" fmla="*/ 782638 h 1192213"/>
                    <a:gd name="connsiteX2" fmla="*/ 322848 w 614363"/>
                    <a:gd name="connsiteY2" fmla="*/ 782638 h 1192213"/>
                    <a:gd name="connsiteX3" fmla="*/ 340651 w 614363"/>
                    <a:gd name="connsiteY3" fmla="*/ 782638 h 1192213"/>
                    <a:gd name="connsiteX4" fmla="*/ 579215 w 614363"/>
                    <a:gd name="connsiteY4" fmla="*/ 1167995 h 1192213"/>
                    <a:gd name="connsiteX5" fmla="*/ 574230 w 614363"/>
                    <a:gd name="connsiteY5" fmla="*/ 1190076 h 1192213"/>
                    <a:gd name="connsiteX6" fmla="*/ 566397 w 614363"/>
                    <a:gd name="connsiteY6" fmla="*/ 1192213 h 1192213"/>
                    <a:gd name="connsiteX7" fmla="*/ 552866 w 614363"/>
                    <a:gd name="connsiteY7" fmla="*/ 1185090 h 1192213"/>
                    <a:gd name="connsiteX8" fmla="*/ 322848 w 614363"/>
                    <a:gd name="connsiteY8" fmla="*/ 813980 h 1192213"/>
                    <a:gd name="connsiteX9" fmla="*/ 322848 w 614363"/>
                    <a:gd name="connsiteY9" fmla="*/ 1176542 h 1192213"/>
                    <a:gd name="connsiteX10" fmla="*/ 307181 w 614363"/>
                    <a:gd name="connsiteY10" fmla="*/ 1192213 h 1192213"/>
                    <a:gd name="connsiteX11" fmla="*/ 291514 w 614363"/>
                    <a:gd name="connsiteY11" fmla="*/ 1176542 h 1192213"/>
                    <a:gd name="connsiteX12" fmla="*/ 291514 w 614363"/>
                    <a:gd name="connsiteY12" fmla="*/ 813980 h 1192213"/>
                    <a:gd name="connsiteX13" fmla="*/ 61496 w 614363"/>
                    <a:gd name="connsiteY13" fmla="*/ 1185090 h 1192213"/>
                    <a:gd name="connsiteX14" fmla="*/ 47966 w 614363"/>
                    <a:gd name="connsiteY14" fmla="*/ 1192213 h 1192213"/>
                    <a:gd name="connsiteX15" fmla="*/ 40132 w 614363"/>
                    <a:gd name="connsiteY15" fmla="*/ 1190076 h 1192213"/>
                    <a:gd name="connsiteX16" fmla="*/ 35147 w 614363"/>
                    <a:gd name="connsiteY16" fmla="*/ 1167995 h 1192213"/>
                    <a:gd name="connsiteX17" fmla="*/ 273711 w 614363"/>
                    <a:gd name="connsiteY17" fmla="*/ 782638 h 1192213"/>
                    <a:gd name="connsiteX18" fmla="*/ 15703 w 614363"/>
                    <a:gd name="connsiteY18" fmla="*/ 638175 h 1192213"/>
                    <a:gd name="connsiteX19" fmla="*/ 352598 w 614363"/>
                    <a:gd name="connsiteY19" fmla="*/ 638175 h 1192213"/>
                    <a:gd name="connsiteX20" fmla="*/ 368300 w 614363"/>
                    <a:gd name="connsiteY20" fmla="*/ 653257 h 1192213"/>
                    <a:gd name="connsiteX21" fmla="*/ 352598 w 614363"/>
                    <a:gd name="connsiteY21" fmla="*/ 668338 h 1192213"/>
                    <a:gd name="connsiteX22" fmla="*/ 15703 w 614363"/>
                    <a:gd name="connsiteY22" fmla="*/ 668338 h 1192213"/>
                    <a:gd name="connsiteX23" fmla="*/ 0 w 614363"/>
                    <a:gd name="connsiteY23" fmla="*/ 653257 h 1192213"/>
                    <a:gd name="connsiteX24" fmla="*/ 15703 w 614363"/>
                    <a:gd name="connsiteY24" fmla="*/ 638175 h 1192213"/>
                    <a:gd name="connsiteX25" fmla="*/ 15680 w 614363"/>
                    <a:gd name="connsiteY25" fmla="*/ 557213 h 1192213"/>
                    <a:gd name="connsiteX26" fmla="*/ 598683 w 614363"/>
                    <a:gd name="connsiteY26" fmla="*/ 557213 h 1192213"/>
                    <a:gd name="connsiteX27" fmla="*/ 614363 w 614363"/>
                    <a:gd name="connsiteY27" fmla="*/ 573088 h 1192213"/>
                    <a:gd name="connsiteX28" fmla="*/ 598683 w 614363"/>
                    <a:gd name="connsiteY28" fmla="*/ 588963 h 1192213"/>
                    <a:gd name="connsiteX29" fmla="*/ 15680 w 614363"/>
                    <a:gd name="connsiteY29" fmla="*/ 588963 h 1192213"/>
                    <a:gd name="connsiteX30" fmla="*/ 0 w 614363"/>
                    <a:gd name="connsiteY30" fmla="*/ 573088 h 1192213"/>
                    <a:gd name="connsiteX31" fmla="*/ 15680 w 614363"/>
                    <a:gd name="connsiteY31" fmla="*/ 557213 h 1192213"/>
                    <a:gd name="connsiteX32" fmla="*/ 15680 w 614363"/>
                    <a:gd name="connsiteY32" fmla="*/ 477838 h 1192213"/>
                    <a:gd name="connsiteX33" fmla="*/ 598683 w 614363"/>
                    <a:gd name="connsiteY33" fmla="*/ 477838 h 1192213"/>
                    <a:gd name="connsiteX34" fmla="*/ 614363 w 614363"/>
                    <a:gd name="connsiteY34" fmla="*/ 493713 h 1192213"/>
                    <a:gd name="connsiteX35" fmla="*/ 598683 w 614363"/>
                    <a:gd name="connsiteY35" fmla="*/ 509588 h 1192213"/>
                    <a:gd name="connsiteX36" fmla="*/ 15680 w 614363"/>
                    <a:gd name="connsiteY36" fmla="*/ 509588 h 1192213"/>
                    <a:gd name="connsiteX37" fmla="*/ 0 w 614363"/>
                    <a:gd name="connsiteY37" fmla="*/ 493713 h 1192213"/>
                    <a:gd name="connsiteX38" fmla="*/ 15680 w 614363"/>
                    <a:gd name="connsiteY38" fmla="*/ 477838 h 1192213"/>
                    <a:gd name="connsiteX39" fmla="*/ 15680 w 614363"/>
                    <a:gd name="connsiteY39" fmla="*/ 398463 h 1192213"/>
                    <a:gd name="connsiteX40" fmla="*/ 598683 w 614363"/>
                    <a:gd name="connsiteY40" fmla="*/ 398463 h 1192213"/>
                    <a:gd name="connsiteX41" fmla="*/ 614363 w 614363"/>
                    <a:gd name="connsiteY41" fmla="*/ 414338 h 1192213"/>
                    <a:gd name="connsiteX42" fmla="*/ 598683 w 614363"/>
                    <a:gd name="connsiteY42" fmla="*/ 430213 h 1192213"/>
                    <a:gd name="connsiteX43" fmla="*/ 15680 w 614363"/>
                    <a:gd name="connsiteY43" fmla="*/ 430213 h 1192213"/>
                    <a:gd name="connsiteX44" fmla="*/ 0 w 614363"/>
                    <a:gd name="connsiteY44" fmla="*/ 414338 h 1192213"/>
                    <a:gd name="connsiteX45" fmla="*/ 15680 w 614363"/>
                    <a:gd name="connsiteY45" fmla="*/ 398463 h 1192213"/>
                    <a:gd name="connsiteX46" fmla="*/ 15680 w 614363"/>
                    <a:gd name="connsiteY46" fmla="*/ 319088 h 1192213"/>
                    <a:gd name="connsiteX47" fmla="*/ 598683 w 614363"/>
                    <a:gd name="connsiteY47" fmla="*/ 319088 h 1192213"/>
                    <a:gd name="connsiteX48" fmla="*/ 614363 w 614363"/>
                    <a:gd name="connsiteY48" fmla="*/ 334169 h 1192213"/>
                    <a:gd name="connsiteX49" fmla="*/ 598683 w 614363"/>
                    <a:gd name="connsiteY49" fmla="*/ 349251 h 1192213"/>
                    <a:gd name="connsiteX50" fmla="*/ 15680 w 614363"/>
                    <a:gd name="connsiteY50" fmla="*/ 349251 h 1192213"/>
                    <a:gd name="connsiteX51" fmla="*/ 0 w 614363"/>
                    <a:gd name="connsiteY51" fmla="*/ 334169 h 1192213"/>
                    <a:gd name="connsiteX52" fmla="*/ 15680 w 614363"/>
                    <a:gd name="connsiteY52" fmla="*/ 319088 h 1192213"/>
                    <a:gd name="connsiteX53" fmla="*/ 15680 w 614363"/>
                    <a:gd name="connsiteY53" fmla="*/ 238125 h 1192213"/>
                    <a:gd name="connsiteX54" fmla="*/ 598683 w 614363"/>
                    <a:gd name="connsiteY54" fmla="*/ 238125 h 1192213"/>
                    <a:gd name="connsiteX55" fmla="*/ 614363 w 614363"/>
                    <a:gd name="connsiteY55" fmla="*/ 254000 h 1192213"/>
                    <a:gd name="connsiteX56" fmla="*/ 598683 w 614363"/>
                    <a:gd name="connsiteY56" fmla="*/ 269875 h 1192213"/>
                    <a:gd name="connsiteX57" fmla="*/ 15680 w 614363"/>
                    <a:gd name="connsiteY57" fmla="*/ 269875 h 1192213"/>
                    <a:gd name="connsiteX58" fmla="*/ 0 w 614363"/>
                    <a:gd name="connsiteY58" fmla="*/ 254000 h 1192213"/>
                    <a:gd name="connsiteX59" fmla="*/ 15680 w 614363"/>
                    <a:gd name="connsiteY59" fmla="*/ 238125 h 1192213"/>
                    <a:gd name="connsiteX60" fmla="*/ 15680 w 614363"/>
                    <a:gd name="connsiteY60" fmla="*/ 158750 h 1192213"/>
                    <a:gd name="connsiteX61" fmla="*/ 598683 w 614363"/>
                    <a:gd name="connsiteY61" fmla="*/ 158750 h 1192213"/>
                    <a:gd name="connsiteX62" fmla="*/ 614363 w 614363"/>
                    <a:gd name="connsiteY62" fmla="*/ 174625 h 1192213"/>
                    <a:gd name="connsiteX63" fmla="*/ 598683 w 614363"/>
                    <a:gd name="connsiteY63" fmla="*/ 190500 h 1192213"/>
                    <a:gd name="connsiteX64" fmla="*/ 15680 w 614363"/>
                    <a:gd name="connsiteY64" fmla="*/ 190500 h 1192213"/>
                    <a:gd name="connsiteX65" fmla="*/ 0 w 614363"/>
                    <a:gd name="connsiteY65" fmla="*/ 174625 h 1192213"/>
                    <a:gd name="connsiteX66" fmla="*/ 15680 w 614363"/>
                    <a:gd name="connsiteY66" fmla="*/ 158750 h 1192213"/>
                    <a:gd name="connsiteX67" fmla="*/ 15680 w 614363"/>
                    <a:gd name="connsiteY67" fmla="*/ 79375 h 1192213"/>
                    <a:gd name="connsiteX68" fmla="*/ 598683 w 614363"/>
                    <a:gd name="connsiteY68" fmla="*/ 79375 h 1192213"/>
                    <a:gd name="connsiteX69" fmla="*/ 614363 w 614363"/>
                    <a:gd name="connsiteY69" fmla="*/ 94456 h 1192213"/>
                    <a:gd name="connsiteX70" fmla="*/ 598683 w 614363"/>
                    <a:gd name="connsiteY70" fmla="*/ 109538 h 1192213"/>
                    <a:gd name="connsiteX71" fmla="*/ 15680 w 614363"/>
                    <a:gd name="connsiteY71" fmla="*/ 109538 h 1192213"/>
                    <a:gd name="connsiteX72" fmla="*/ 0 w 614363"/>
                    <a:gd name="connsiteY72" fmla="*/ 94456 h 1192213"/>
                    <a:gd name="connsiteX73" fmla="*/ 15680 w 614363"/>
                    <a:gd name="connsiteY73" fmla="*/ 79375 h 1192213"/>
                    <a:gd name="connsiteX74" fmla="*/ 15680 w 614363"/>
                    <a:gd name="connsiteY74" fmla="*/ 0 h 1192213"/>
                    <a:gd name="connsiteX75" fmla="*/ 598683 w 614363"/>
                    <a:gd name="connsiteY75" fmla="*/ 0 h 1192213"/>
                    <a:gd name="connsiteX76" fmla="*/ 614363 w 614363"/>
                    <a:gd name="connsiteY76" fmla="*/ 15081 h 1192213"/>
                    <a:gd name="connsiteX77" fmla="*/ 598683 w 614363"/>
                    <a:gd name="connsiteY77" fmla="*/ 30163 h 1192213"/>
                    <a:gd name="connsiteX78" fmla="*/ 15680 w 614363"/>
                    <a:gd name="connsiteY78" fmla="*/ 30163 h 1192213"/>
                    <a:gd name="connsiteX79" fmla="*/ 0 w 614363"/>
                    <a:gd name="connsiteY79" fmla="*/ 15081 h 1192213"/>
                    <a:gd name="connsiteX80" fmla="*/ 15680 w 614363"/>
                    <a:gd name="connsiteY80"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14363" h="1192213">
                      <a:moveTo>
                        <a:pt x="273711" y="782638"/>
                      </a:moveTo>
                      <a:cubicBezTo>
                        <a:pt x="273711" y="782638"/>
                        <a:pt x="273711" y="782638"/>
                        <a:pt x="303621" y="782638"/>
                      </a:cubicBezTo>
                      <a:cubicBezTo>
                        <a:pt x="303621" y="782638"/>
                        <a:pt x="303621" y="782638"/>
                        <a:pt x="322848" y="782638"/>
                      </a:cubicBezTo>
                      <a:cubicBezTo>
                        <a:pt x="322848" y="782638"/>
                        <a:pt x="322848" y="782638"/>
                        <a:pt x="340651" y="782638"/>
                      </a:cubicBezTo>
                      <a:lnTo>
                        <a:pt x="579215" y="1167995"/>
                      </a:lnTo>
                      <a:cubicBezTo>
                        <a:pt x="584200" y="1175830"/>
                        <a:pt x="582064" y="1185090"/>
                        <a:pt x="574230" y="1190076"/>
                      </a:cubicBezTo>
                      <a:cubicBezTo>
                        <a:pt x="572094" y="1191501"/>
                        <a:pt x="569245" y="1192213"/>
                        <a:pt x="566397" y="1192213"/>
                      </a:cubicBezTo>
                      <a:cubicBezTo>
                        <a:pt x="560700" y="1192213"/>
                        <a:pt x="555715" y="1189364"/>
                        <a:pt x="552866" y="1185090"/>
                      </a:cubicBezTo>
                      <a:cubicBezTo>
                        <a:pt x="552866" y="1185090"/>
                        <a:pt x="552866" y="1185090"/>
                        <a:pt x="322848" y="813980"/>
                      </a:cubicBezTo>
                      <a:cubicBezTo>
                        <a:pt x="322848" y="813980"/>
                        <a:pt x="322848" y="813980"/>
                        <a:pt x="322848" y="1176542"/>
                      </a:cubicBezTo>
                      <a:cubicBezTo>
                        <a:pt x="322848" y="1185090"/>
                        <a:pt x="315727" y="1192213"/>
                        <a:pt x="307181" y="1192213"/>
                      </a:cubicBezTo>
                      <a:cubicBezTo>
                        <a:pt x="298636" y="1192213"/>
                        <a:pt x="291514" y="1185090"/>
                        <a:pt x="291514" y="1176542"/>
                      </a:cubicBezTo>
                      <a:cubicBezTo>
                        <a:pt x="291514" y="1176542"/>
                        <a:pt x="291514" y="1176542"/>
                        <a:pt x="291514" y="813980"/>
                      </a:cubicBezTo>
                      <a:cubicBezTo>
                        <a:pt x="291514" y="813980"/>
                        <a:pt x="291514" y="813980"/>
                        <a:pt x="61496" y="1185090"/>
                      </a:cubicBezTo>
                      <a:cubicBezTo>
                        <a:pt x="58647" y="1189364"/>
                        <a:pt x="53663" y="1192213"/>
                        <a:pt x="47966" y="1192213"/>
                      </a:cubicBezTo>
                      <a:cubicBezTo>
                        <a:pt x="45117" y="1192213"/>
                        <a:pt x="42268" y="1191501"/>
                        <a:pt x="40132" y="1190076"/>
                      </a:cubicBezTo>
                      <a:cubicBezTo>
                        <a:pt x="32299" y="1185090"/>
                        <a:pt x="30162" y="1175830"/>
                        <a:pt x="35147" y="1167995"/>
                      </a:cubicBezTo>
                      <a:cubicBezTo>
                        <a:pt x="35147" y="1167995"/>
                        <a:pt x="35147" y="1167995"/>
                        <a:pt x="273711" y="782638"/>
                      </a:cubicBezTo>
                      <a:close/>
                      <a:moveTo>
                        <a:pt x="15703" y="638175"/>
                      </a:moveTo>
                      <a:cubicBezTo>
                        <a:pt x="15703" y="638175"/>
                        <a:pt x="15703" y="638175"/>
                        <a:pt x="352598" y="638175"/>
                      </a:cubicBezTo>
                      <a:cubicBezTo>
                        <a:pt x="361163" y="638175"/>
                        <a:pt x="368300" y="645030"/>
                        <a:pt x="368300" y="653257"/>
                      </a:cubicBezTo>
                      <a:cubicBezTo>
                        <a:pt x="368300" y="661483"/>
                        <a:pt x="361163" y="668338"/>
                        <a:pt x="352598" y="668338"/>
                      </a:cubicBezTo>
                      <a:cubicBezTo>
                        <a:pt x="352598" y="668338"/>
                        <a:pt x="352598" y="668338"/>
                        <a:pt x="15703" y="668338"/>
                      </a:cubicBezTo>
                      <a:cubicBezTo>
                        <a:pt x="7138" y="668338"/>
                        <a:pt x="0" y="661483"/>
                        <a:pt x="0" y="653257"/>
                      </a:cubicBezTo>
                      <a:cubicBezTo>
                        <a:pt x="0" y="645030"/>
                        <a:pt x="7138" y="638175"/>
                        <a:pt x="15703" y="638175"/>
                      </a:cubicBezTo>
                      <a:close/>
                      <a:moveTo>
                        <a:pt x="15680" y="557213"/>
                      </a:moveTo>
                      <a:cubicBezTo>
                        <a:pt x="15680" y="557213"/>
                        <a:pt x="15680" y="557213"/>
                        <a:pt x="598683" y="557213"/>
                      </a:cubicBezTo>
                      <a:cubicBezTo>
                        <a:pt x="607236" y="557213"/>
                        <a:pt x="614363" y="564429"/>
                        <a:pt x="614363" y="573088"/>
                      </a:cubicBezTo>
                      <a:cubicBezTo>
                        <a:pt x="614363" y="581747"/>
                        <a:pt x="607236" y="588963"/>
                        <a:pt x="598683" y="588963"/>
                      </a:cubicBezTo>
                      <a:cubicBezTo>
                        <a:pt x="598683" y="588963"/>
                        <a:pt x="598683" y="588963"/>
                        <a:pt x="15680" y="588963"/>
                      </a:cubicBezTo>
                      <a:cubicBezTo>
                        <a:pt x="7127" y="588963"/>
                        <a:pt x="0" y="581747"/>
                        <a:pt x="0" y="573088"/>
                      </a:cubicBezTo>
                      <a:cubicBezTo>
                        <a:pt x="0" y="564429"/>
                        <a:pt x="7127" y="557213"/>
                        <a:pt x="15680" y="557213"/>
                      </a:cubicBezTo>
                      <a:close/>
                      <a:moveTo>
                        <a:pt x="15680" y="477838"/>
                      </a:moveTo>
                      <a:cubicBezTo>
                        <a:pt x="15680" y="477838"/>
                        <a:pt x="15680" y="477838"/>
                        <a:pt x="598683" y="477838"/>
                      </a:cubicBezTo>
                      <a:cubicBezTo>
                        <a:pt x="607236" y="477838"/>
                        <a:pt x="614363" y="485054"/>
                        <a:pt x="614363" y="493713"/>
                      </a:cubicBezTo>
                      <a:cubicBezTo>
                        <a:pt x="614363" y="503094"/>
                        <a:pt x="607236" y="509588"/>
                        <a:pt x="598683" y="509588"/>
                      </a:cubicBezTo>
                      <a:cubicBezTo>
                        <a:pt x="598683" y="509588"/>
                        <a:pt x="598683" y="509588"/>
                        <a:pt x="15680" y="509588"/>
                      </a:cubicBezTo>
                      <a:cubicBezTo>
                        <a:pt x="7127" y="509588"/>
                        <a:pt x="0" y="503094"/>
                        <a:pt x="0" y="493713"/>
                      </a:cubicBezTo>
                      <a:cubicBezTo>
                        <a:pt x="0" y="485054"/>
                        <a:pt x="7127" y="477838"/>
                        <a:pt x="15680" y="477838"/>
                      </a:cubicBezTo>
                      <a:close/>
                      <a:moveTo>
                        <a:pt x="15680" y="398463"/>
                      </a:moveTo>
                      <a:cubicBezTo>
                        <a:pt x="15680" y="398463"/>
                        <a:pt x="15680" y="398463"/>
                        <a:pt x="598683" y="398463"/>
                      </a:cubicBezTo>
                      <a:cubicBezTo>
                        <a:pt x="607236" y="398463"/>
                        <a:pt x="614363" y="404957"/>
                        <a:pt x="614363" y="414338"/>
                      </a:cubicBezTo>
                      <a:cubicBezTo>
                        <a:pt x="614363" y="422997"/>
                        <a:pt x="607236" y="430213"/>
                        <a:pt x="598683" y="430213"/>
                      </a:cubicBezTo>
                      <a:cubicBezTo>
                        <a:pt x="598683" y="430213"/>
                        <a:pt x="598683" y="430213"/>
                        <a:pt x="15680" y="430213"/>
                      </a:cubicBezTo>
                      <a:cubicBezTo>
                        <a:pt x="7127" y="430213"/>
                        <a:pt x="0" y="422997"/>
                        <a:pt x="0" y="414338"/>
                      </a:cubicBezTo>
                      <a:cubicBezTo>
                        <a:pt x="0" y="404957"/>
                        <a:pt x="7127" y="398463"/>
                        <a:pt x="15680" y="398463"/>
                      </a:cubicBezTo>
                      <a:close/>
                      <a:moveTo>
                        <a:pt x="15680" y="319088"/>
                      </a:moveTo>
                      <a:cubicBezTo>
                        <a:pt x="15680" y="319088"/>
                        <a:pt x="15680" y="319088"/>
                        <a:pt x="598683" y="319088"/>
                      </a:cubicBezTo>
                      <a:cubicBezTo>
                        <a:pt x="607236" y="319088"/>
                        <a:pt x="614363" y="325943"/>
                        <a:pt x="614363" y="334169"/>
                      </a:cubicBezTo>
                      <a:cubicBezTo>
                        <a:pt x="614363" y="342396"/>
                        <a:pt x="607236" y="349251"/>
                        <a:pt x="598683" y="349251"/>
                      </a:cubicBezTo>
                      <a:cubicBezTo>
                        <a:pt x="598683" y="349251"/>
                        <a:pt x="598683" y="349251"/>
                        <a:pt x="15680" y="349251"/>
                      </a:cubicBezTo>
                      <a:cubicBezTo>
                        <a:pt x="7127" y="349251"/>
                        <a:pt x="0" y="342396"/>
                        <a:pt x="0" y="334169"/>
                      </a:cubicBezTo>
                      <a:cubicBezTo>
                        <a:pt x="0" y="325943"/>
                        <a:pt x="7127" y="319088"/>
                        <a:pt x="15680" y="319088"/>
                      </a:cubicBezTo>
                      <a:close/>
                      <a:moveTo>
                        <a:pt x="15680" y="238125"/>
                      </a:moveTo>
                      <a:cubicBezTo>
                        <a:pt x="15680" y="238125"/>
                        <a:pt x="15680" y="238125"/>
                        <a:pt x="598683" y="238125"/>
                      </a:cubicBezTo>
                      <a:cubicBezTo>
                        <a:pt x="607236" y="238125"/>
                        <a:pt x="614363" y="245341"/>
                        <a:pt x="614363" y="254000"/>
                      </a:cubicBezTo>
                      <a:cubicBezTo>
                        <a:pt x="614363" y="262659"/>
                        <a:pt x="607236" y="269875"/>
                        <a:pt x="598683" y="269875"/>
                      </a:cubicBezTo>
                      <a:cubicBezTo>
                        <a:pt x="598683" y="269875"/>
                        <a:pt x="598683" y="269875"/>
                        <a:pt x="15680" y="269875"/>
                      </a:cubicBezTo>
                      <a:cubicBezTo>
                        <a:pt x="7127" y="269875"/>
                        <a:pt x="0" y="262659"/>
                        <a:pt x="0" y="254000"/>
                      </a:cubicBezTo>
                      <a:cubicBezTo>
                        <a:pt x="0" y="245341"/>
                        <a:pt x="7127" y="238125"/>
                        <a:pt x="15680" y="238125"/>
                      </a:cubicBezTo>
                      <a:close/>
                      <a:moveTo>
                        <a:pt x="15680" y="158750"/>
                      </a:moveTo>
                      <a:cubicBezTo>
                        <a:pt x="15680" y="158750"/>
                        <a:pt x="15680" y="158750"/>
                        <a:pt x="598683" y="158750"/>
                      </a:cubicBezTo>
                      <a:cubicBezTo>
                        <a:pt x="607236" y="158750"/>
                        <a:pt x="614363" y="165966"/>
                        <a:pt x="614363" y="174625"/>
                      </a:cubicBezTo>
                      <a:cubicBezTo>
                        <a:pt x="614363" y="183284"/>
                        <a:pt x="607236" y="190500"/>
                        <a:pt x="598683" y="190500"/>
                      </a:cubicBezTo>
                      <a:cubicBezTo>
                        <a:pt x="598683" y="190500"/>
                        <a:pt x="598683" y="190500"/>
                        <a:pt x="15680" y="190500"/>
                      </a:cubicBezTo>
                      <a:cubicBezTo>
                        <a:pt x="7127" y="190500"/>
                        <a:pt x="0" y="183284"/>
                        <a:pt x="0" y="174625"/>
                      </a:cubicBezTo>
                      <a:cubicBezTo>
                        <a:pt x="0" y="165966"/>
                        <a:pt x="7127" y="158750"/>
                        <a:pt x="15680" y="158750"/>
                      </a:cubicBezTo>
                      <a:close/>
                      <a:moveTo>
                        <a:pt x="15680" y="79375"/>
                      </a:moveTo>
                      <a:cubicBezTo>
                        <a:pt x="15680" y="79375"/>
                        <a:pt x="15680" y="79375"/>
                        <a:pt x="598683" y="79375"/>
                      </a:cubicBezTo>
                      <a:cubicBezTo>
                        <a:pt x="607236" y="79375"/>
                        <a:pt x="614363" y="86230"/>
                        <a:pt x="614363" y="94456"/>
                      </a:cubicBezTo>
                      <a:cubicBezTo>
                        <a:pt x="614363" y="103368"/>
                        <a:pt x="607236" y="109538"/>
                        <a:pt x="598683" y="109538"/>
                      </a:cubicBezTo>
                      <a:cubicBezTo>
                        <a:pt x="598683" y="109538"/>
                        <a:pt x="598683" y="109538"/>
                        <a:pt x="15680" y="109538"/>
                      </a:cubicBezTo>
                      <a:cubicBezTo>
                        <a:pt x="7127" y="109538"/>
                        <a:pt x="0" y="103368"/>
                        <a:pt x="0" y="94456"/>
                      </a:cubicBezTo>
                      <a:cubicBezTo>
                        <a:pt x="0" y="86230"/>
                        <a:pt x="7127" y="79375"/>
                        <a:pt x="15680" y="79375"/>
                      </a:cubicBezTo>
                      <a:close/>
                      <a:moveTo>
                        <a:pt x="15680" y="0"/>
                      </a:moveTo>
                      <a:cubicBezTo>
                        <a:pt x="15680" y="0"/>
                        <a:pt x="15680" y="0"/>
                        <a:pt x="598683" y="0"/>
                      </a:cubicBezTo>
                      <a:cubicBezTo>
                        <a:pt x="607236" y="0"/>
                        <a:pt x="614363" y="6170"/>
                        <a:pt x="614363" y="15081"/>
                      </a:cubicBezTo>
                      <a:cubicBezTo>
                        <a:pt x="614363" y="23308"/>
                        <a:pt x="607236" y="30163"/>
                        <a:pt x="598683" y="30163"/>
                      </a:cubicBezTo>
                      <a:cubicBezTo>
                        <a:pt x="598683" y="30163"/>
                        <a:pt x="598683" y="30163"/>
                        <a:pt x="15680" y="30163"/>
                      </a:cubicBezTo>
                      <a:cubicBezTo>
                        <a:pt x="7127" y="30163"/>
                        <a:pt x="0" y="23308"/>
                        <a:pt x="0" y="15081"/>
                      </a:cubicBezTo>
                      <a:cubicBezTo>
                        <a:pt x="0" y="6170"/>
                        <a:pt x="7127" y="0"/>
                        <a:pt x="1568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sp>
        <p:nvSpPr>
          <p:cNvPr id="52" name="Content Placeholder 5"/>
          <p:cNvSpPr txBox="1">
            <a:spLocks/>
          </p:cNvSpPr>
          <p:nvPr/>
        </p:nvSpPr>
        <p:spPr>
          <a:xfrm>
            <a:off x="2267406" y="4022437"/>
            <a:ext cx="1712924" cy="180508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r>
              <a:rPr lang="fr-FR" altLang="fr-FR" sz="1600" dirty="0">
                <a:solidFill>
                  <a:schemeClr val="tx1">
                    <a:lumMod val="100000"/>
                  </a:schemeClr>
                </a:solidFill>
                <a:latin typeface="Trebuchet MS" panose="020B0603020202020204" pitchFamily="34" charset="0"/>
              </a:rPr>
              <a:t>Structurer votre travail au sein d'une équipe</a:t>
            </a:r>
          </a:p>
        </p:txBody>
      </p:sp>
      <p:sp>
        <p:nvSpPr>
          <p:cNvPr id="53" name="Content Placeholder 5"/>
          <p:cNvSpPr txBox="1">
            <a:spLocks/>
          </p:cNvSpPr>
          <p:nvPr/>
        </p:nvSpPr>
        <p:spPr>
          <a:xfrm>
            <a:off x="4172157" y="4022437"/>
            <a:ext cx="1712924" cy="180508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r>
              <a:rPr lang="fr-FR" altLang="fr-FR" sz="1600" dirty="0">
                <a:solidFill>
                  <a:schemeClr val="tx1">
                    <a:lumMod val="100000"/>
                  </a:schemeClr>
                </a:solidFill>
                <a:latin typeface="Trebuchet MS" panose="020B0603020202020204" pitchFamily="34" charset="0"/>
              </a:rPr>
              <a:t>Trier, nettoyer, analyser des grands volumes de données</a:t>
            </a:r>
          </a:p>
        </p:txBody>
      </p:sp>
      <p:sp>
        <p:nvSpPr>
          <p:cNvPr id="54" name="Content Placeholder 5"/>
          <p:cNvSpPr txBox="1">
            <a:spLocks/>
          </p:cNvSpPr>
          <p:nvPr/>
        </p:nvSpPr>
        <p:spPr>
          <a:xfrm>
            <a:off x="6076908" y="3858053"/>
            <a:ext cx="1712924" cy="180508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endParaRPr lang="fr-FR" altLang="fr-FR" sz="1600" dirty="0">
              <a:solidFill>
                <a:schemeClr val="tx1">
                  <a:lumMod val="100000"/>
                </a:schemeClr>
              </a:solidFill>
              <a:latin typeface="Trebuchet MS" panose="020B0603020202020204" pitchFamily="34" charset="0"/>
            </a:endParaRPr>
          </a:p>
        </p:txBody>
      </p:sp>
      <p:sp>
        <p:nvSpPr>
          <p:cNvPr id="55" name="Content Placeholder 5"/>
          <p:cNvSpPr txBox="1">
            <a:spLocks/>
          </p:cNvSpPr>
          <p:nvPr/>
        </p:nvSpPr>
        <p:spPr>
          <a:xfrm>
            <a:off x="7981659" y="3858053"/>
            <a:ext cx="1712924" cy="180508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endParaRPr lang="fr-FR" altLang="fr-FR" sz="1600" dirty="0">
              <a:solidFill>
                <a:schemeClr val="tx1">
                  <a:lumMod val="100000"/>
                </a:schemeClr>
              </a:solidFill>
              <a:latin typeface="Trebuchet MS" panose="020B0603020202020204" pitchFamily="34" charset="0"/>
            </a:endParaRPr>
          </a:p>
        </p:txBody>
      </p:sp>
      <p:sp>
        <p:nvSpPr>
          <p:cNvPr id="56" name="Content Placeholder 5"/>
          <p:cNvSpPr txBox="1">
            <a:spLocks/>
          </p:cNvSpPr>
          <p:nvPr/>
        </p:nvSpPr>
        <p:spPr>
          <a:xfrm>
            <a:off x="9886410" y="4022437"/>
            <a:ext cx="1712924" cy="180508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r>
              <a:rPr lang="fr-FR" altLang="fr-FR" sz="1600" dirty="0">
                <a:solidFill>
                  <a:schemeClr val="tx1">
                    <a:lumMod val="100000"/>
                  </a:schemeClr>
                </a:solidFill>
                <a:latin typeface="Trebuchet MS" panose="020B0603020202020204" pitchFamily="34" charset="0"/>
              </a:rPr>
              <a:t>... et les présenter à une audience senior</a:t>
            </a:r>
          </a:p>
        </p:txBody>
      </p:sp>
      <p:grpSp>
        <p:nvGrpSpPr>
          <p:cNvPr id="70" name="Group 69">
            <a:extLst>
              <a:ext uri="{FF2B5EF4-FFF2-40B4-BE49-F238E27FC236}">
                <a16:creationId xmlns:a16="http://schemas.microsoft.com/office/drawing/2014/main" id="{6C192363-AB4D-DF48-8EA9-BE0204CE82E1}"/>
              </a:ext>
            </a:extLst>
          </p:cNvPr>
          <p:cNvGrpSpPr/>
          <p:nvPr/>
        </p:nvGrpSpPr>
        <p:grpSpPr>
          <a:xfrm>
            <a:off x="2303538" y="2256363"/>
            <a:ext cx="1640659" cy="1640659"/>
            <a:chOff x="4208289" y="2143349"/>
            <a:chExt cx="1640659" cy="1640659"/>
          </a:xfrm>
        </p:grpSpPr>
        <p:sp>
          <p:nvSpPr>
            <p:cNvPr id="71" name="Oval 70">
              <a:extLst>
                <a:ext uri="{FF2B5EF4-FFF2-40B4-BE49-F238E27FC236}">
                  <a16:creationId xmlns:a16="http://schemas.microsoft.com/office/drawing/2014/main" id="{5728644E-5396-4F46-917D-91CF378FDC5E}"/>
                </a:ext>
              </a:extLst>
            </p:cNvPr>
            <p:cNvSpPr>
              <a:spLocks noChangeAspect="1"/>
            </p:cNvSpPr>
            <p:nvPr/>
          </p:nvSpPr>
          <p:spPr>
            <a:xfrm>
              <a:off x="4208289" y="2143349"/>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72" name="Group 71">
              <a:extLst>
                <a:ext uri="{FF2B5EF4-FFF2-40B4-BE49-F238E27FC236}">
                  <a16:creationId xmlns:a16="http://schemas.microsoft.com/office/drawing/2014/main" id="{FC86E332-CB0F-6D4B-B8D6-5F37AFE7A036}"/>
                </a:ext>
              </a:extLst>
            </p:cNvPr>
            <p:cNvGrpSpPr/>
            <p:nvPr/>
          </p:nvGrpSpPr>
          <p:grpSpPr>
            <a:xfrm>
              <a:off x="4405180" y="2339662"/>
              <a:ext cx="1246877" cy="1248033"/>
              <a:chOff x="4405180" y="2339662"/>
              <a:chExt cx="1246877" cy="1248033"/>
            </a:xfrm>
          </p:grpSpPr>
          <p:sp>
            <p:nvSpPr>
              <p:cNvPr id="73" name="AutoShape 3">
                <a:extLst>
                  <a:ext uri="{FF2B5EF4-FFF2-40B4-BE49-F238E27FC236}">
                    <a16:creationId xmlns:a16="http://schemas.microsoft.com/office/drawing/2014/main" id="{1DA2BA8B-6537-E64E-A08B-DEAF23971E9F}"/>
                  </a:ext>
                </a:extLst>
              </p:cNvPr>
              <p:cNvSpPr>
                <a:spLocks noChangeAspect="1" noChangeArrowheads="1" noTextEdit="1"/>
              </p:cNvSpPr>
              <p:nvPr/>
            </p:nvSpPr>
            <p:spPr bwMode="auto">
              <a:xfrm>
                <a:off x="4405180" y="2339662"/>
                <a:ext cx="1246877" cy="124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5">
                <a:extLst>
                  <a:ext uri="{FF2B5EF4-FFF2-40B4-BE49-F238E27FC236}">
                    <a16:creationId xmlns:a16="http://schemas.microsoft.com/office/drawing/2014/main" id="{049C523F-0C2C-9049-ABB1-5FEE8095FD99}"/>
                  </a:ext>
                </a:extLst>
              </p:cNvPr>
              <p:cNvSpPr>
                <a:spLocks noEditPoints="1"/>
              </p:cNvSpPr>
              <p:nvPr/>
            </p:nvSpPr>
            <p:spPr bwMode="auto">
              <a:xfrm>
                <a:off x="4533450" y="2468510"/>
                <a:ext cx="989181" cy="990337"/>
              </a:xfrm>
              <a:custGeom>
                <a:avLst/>
                <a:gdLst>
                  <a:gd name="T0" fmla="*/ 914 w 1828"/>
                  <a:gd name="T1" fmla="*/ 491 h 1828"/>
                  <a:gd name="T2" fmla="*/ 668 w 1828"/>
                  <a:gd name="T3" fmla="*/ 246 h 1828"/>
                  <a:gd name="T4" fmla="*/ 914 w 1828"/>
                  <a:gd name="T5" fmla="*/ 0 h 1828"/>
                  <a:gd name="T6" fmla="*/ 1160 w 1828"/>
                  <a:gd name="T7" fmla="*/ 246 h 1828"/>
                  <a:gd name="T8" fmla="*/ 914 w 1828"/>
                  <a:gd name="T9" fmla="*/ 491 h 1828"/>
                  <a:gd name="T10" fmla="*/ 881 w 1828"/>
                  <a:gd name="T11" fmla="*/ 1704 h 1828"/>
                  <a:gd name="T12" fmla="*/ 757 w 1828"/>
                  <a:gd name="T13" fmla="*/ 1580 h 1828"/>
                  <a:gd name="T14" fmla="*/ 633 w 1828"/>
                  <a:gd name="T15" fmla="*/ 1704 h 1828"/>
                  <a:gd name="T16" fmla="*/ 757 w 1828"/>
                  <a:gd name="T17" fmla="*/ 1828 h 1828"/>
                  <a:gd name="T18" fmla="*/ 881 w 1828"/>
                  <a:gd name="T19" fmla="*/ 1704 h 1828"/>
                  <a:gd name="T20" fmla="*/ 1195 w 1828"/>
                  <a:gd name="T21" fmla="*/ 1704 h 1828"/>
                  <a:gd name="T22" fmla="*/ 1071 w 1828"/>
                  <a:gd name="T23" fmla="*/ 1580 h 1828"/>
                  <a:gd name="T24" fmla="*/ 947 w 1828"/>
                  <a:gd name="T25" fmla="*/ 1704 h 1828"/>
                  <a:gd name="T26" fmla="*/ 1071 w 1828"/>
                  <a:gd name="T27" fmla="*/ 1828 h 1828"/>
                  <a:gd name="T28" fmla="*/ 1195 w 1828"/>
                  <a:gd name="T29" fmla="*/ 1704 h 1828"/>
                  <a:gd name="T30" fmla="*/ 1513 w 1828"/>
                  <a:gd name="T31" fmla="*/ 1704 h 1828"/>
                  <a:gd name="T32" fmla="*/ 1389 w 1828"/>
                  <a:gd name="T33" fmla="*/ 1580 h 1828"/>
                  <a:gd name="T34" fmla="*/ 1265 w 1828"/>
                  <a:gd name="T35" fmla="*/ 1704 h 1828"/>
                  <a:gd name="T36" fmla="*/ 1389 w 1828"/>
                  <a:gd name="T37" fmla="*/ 1828 h 1828"/>
                  <a:gd name="T38" fmla="*/ 1513 w 1828"/>
                  <a:gd name="T39" fmla="*/ 1704 h 1828"/>
                  <a:gd name="T40" fmla="*/ 1828 w 1828"/>
                  <a:gd name="T41" fmla="*/ 1704 h 1828"/>
                  <a:gd name="T42" fmla="*/ 1704 w 1828"/>
                  <a:gd name="T43" fmla="*/ 1580 h 1828"/>
                  <a:gd name="T44" fmla="*/ 1580 w 1828"/>
                  <a:gd name="T45" fmla="*/ 1704 h 1828"/>
                  <a:gd name="T46" fmla="*/ 1704 w 1828"/>
                  <a:gd name="T47" fmla="*/ 1828 h 1828"/>
                  <a:gd name="T48" fmla="*/ 1828 w 1828"/>
                  <a:gd name="T49" fmla="*/ 1704 h 1828"/>
                  <a:gd name="T50" fmla="*/ 248 w 1828"/>
                  <a:gd name="T51" fmla="*/ 1704 h 1828"/>
                  <a:gd name="T52" fmla="*/ 124 w 1828"/>
                  <a:gd name="T53" fmla="*/ 1580 h 1828"/>
                  <a:gd name="T54" fmla="*/ 0 w 1828"/>
                  <a:gd name="T55" fmla="*/ 1704 h 1828"/>
                  <a:gd name="T56" fmla="*/ 124 w 1828"/>
                  <a:gd name="T57" fmla="*/ 1828 h 1828"/>
                  <a:gd name="T58" fmla="*/ 248 w 1828"/>
                  <a:gd name="T59" fmla="*/ 1704 h 1828"/>
                  <a:gd name="T60" fmla="*/ 563 w 1828"/>
                  <a:gd name="T61" fmla="*/ 1704 h 1828"/>
                  <a:gd name="T62" fmla="*/ 439 w 1828"/>
                  <a:gd name="T63" fmla="*/ 1580 h 1828"/>
                  <a:gd name="T64" fmla="*/ 315 w 1828"/>
                  <a:gd name="T65" fmla="*/ 1704 h 1828"/>
                  <a:gd name="T66" fmla="*/ 439 w 1828"/>
                  <a:gd name="T67" fmla="*/ 1828 h 1828"/>
                  <a:gd name="T68" fmla="*/ 563 w 1828"/>
                  <a:gd name="T69" fmla="*/ 1704 h 1828"/>
                  <a:gd name="T70" fmla="*/ 468 w 1828"/>
                  <a:gd name="T71" fmla="*/ 1200 h 1828"/>
                  <a:gd name="T72" fmla="*/ 468 w 1828"/>
                  <a:gd name="T73" fmla="*/ 871 h 1828"/>
                  <a:gd name="T74" fmla="*/ 446 w 1828"/>
                  <a:gd name="T75" fmla="*/ 849 h 1828"/>
                  <a:gd name="T76" fmla="*/ 117 w 1828"/>
                  <a:gd name="T77" fmla="*/ 849 h 1828"/>
                  <a:gd name="T78" fmla="*/ 95 w 1828"/>
                  <a:gd name="T79" fmla="*/ 871 h 1828"/>
                  <a:gd name="T80" fmla="*/ 95 w 1828"/>
                  <a:gd name="T81" fmla="*/ 1200 h 1828"/>
                  <a:gd name="T82" fmla="*/ 117 w 1828"/>
                  <a:gd name="T83" fmla="*/ 1222 h 1828"/>
                  <a:gd name="T84" fmla="*/ 446 w 1828"/>
                  <a:gd name="T85" fmla="*/ 1222 h 1828"/>
                  <a:gd name="T86" fmla="*/ 468 w 1828"/>
                  <a:gd name="T87" fmla="*/ 1200 h 1828"/>
                  <a:gd name="T88" fmla="*/ 1101 w 1828"/>
                  <a:gd name="T89" fmla="*/ 1200 h 1828"/>
                  <a:gd name="T90" fmla="*/ 1101 w 1828"/>
                  <a:gd name="T91" fmla="*/ 871 h 1828"/>
                  <a:gd name="T92" fmla="*/ 1079 w 1828"/>
                  <a:gd name="T93" fmla="*/ 849 h 1828"/>
                  <a:gd name="T94" fmla="*/ 749 w 1828"/>
                  <a:gd name="T95" fmla="*/ 849 h 1828"/>
                  <a:gd name="T96" fmla="*/ 727 w 1828"/>
                  <a:gd name="T97" fmla="*/ 871 h 1828"/>
                  <a:gd name="T98" fmla="*/ 727 w 1828"/>
                  <a:gd name="T99" fmla="*/ 1200 h 1828"/>
                  <a:gd name="T100" fmla="*/ 749 w 1828"/>
                  <a:gd name="T101" fmla="*/ 1222 h 1828"/>
                  <a:gd name="T102" fmla="*/ 1079 w 1828"/>
                  <a:gd name="T103" fmla="*/ 1222 h 1828"/>
                  <a:gd name="T104" fmla="*/ 1101 w 1828"/>
                  <a:gd name="T105" fmla="*/ 1200 h 1828"/>
                  <a:gd name="T106" fmla="*/ 1733 w 1828"/>
                  <a:gd name="T107" fmla="*/ 1200 h 1828"/>
                  <a:gd name="T108" fmla="*/ 1733 w 1828"/>
                  <a:gd name="T109" fmla="*/ 871 h 1828"/>
                  <a:gd name="T110" fmla="*/ 1711 w 1828"/>
                  <a:gd name="T111" fmla="*/ 849 h 1828"/>
                  <a:gd name="T112" fmla="*/ 1382 w 1828"/>
                  <a:gd name="T113" fmla="*/ 849 h 1828"/>
                  <a:gd name="T114" fmla="*/ 1360 w 1828"/>
                  <a:gd name="T115" fmla="*/ 871 h 1828"/>
                  <a:gd name="T116" fmla="*/ 1360 w 1828"/>
                  <a:gd name="T117" fmla="*/ 1200 h 1828"/>
                  <a:gd name="T118" fmla="*/ 1382 w 1828"/>
                  <a:gd name="T119" fmla="*/ 1222 h 1828"/>
                  <a:gd name="T120" fmla="*/ 1711 w 1828"/>
                  <a:gd name="T121" fmla="*/ 1222 h 1828"/>
                  <a:gd name="T122" fmla="*/ 1733 w 1828"/>
                  <a:gd name="T123" fmla="*/ 120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8" h="1828">
                    <a:moveTo>
                      <a:pt x="914" y="491"/>
                    </a:moveTo>
                    <a:cubicBezTo>
                      <a:pt x="778" y="491"/>
                      <a:pt x="668" y="381"/>
                      <a:pt x="668" y="246"/>
                    </a:cubicBezTo>
                    <a:cubicBezTo>
                      <a:pt x="668" y="110"/>
                      <a:pt x="778" y="0"/>
                      <a:pt x="914" y="0"/>
                    </a:cubicBezTo>
                    <a:cubicBezTo>
                      <a:pt x="1050" y="0"/>
                      <a:pt x="1160" y="110"/>
                      <a:pt x="1160" y="246"/>
                    </a:cubicBezTo>
                    <a:cubicBezTo>
                      <a:pt x="1160" y="381"/>
                      <a:pt x="1050" y="491"/>
                      <a:pt x="914" y="491"/>
                    </a:cubicBezTo>
                    <a:close/>
                    <a:moveTo>
                      <a:pt x="881" y="1704"/>
                    </a:moveTo>
                    <a:cubicBezTo>
                      <a:pt x="881" y="1635"/>
                      <a:pt x="825" y="1580"/>
                      <a:pt x="757" y="1580"/>
                    </a:cubicBezTo>
                    <a:cubicBezTo>
                      <a:pt x="688" y="1580"/>
                      <a:pt x="633" y="1635"/>
                      <a:pt x="633" y="1704"/>
                    </a:cubicBezTo>
                    <a:cubicBezTo>
                      <a:pt x="633" y="1772"/>
                      <a:pt x="688" y="1828"/>
                      <a:pt x="757" y="1828"/>
                    </a:cubicBezTo>
                    <a:cubicBezTo>
                      <a:pt x="825" y="1828"/>
                      <a:pt x="881" y="1772"/>
                      <a:pt x="881" y="1704"/>
                    </a:cubicBezTo>
                    <a:close/>
                    <a:moveTo>
                      <a:pt x="1195" y="1704"/>
                    </a:moveTo>
                    <a:cubicBezTo>
                      <a:pt x="1195" y="1635"/>
                      <a:pt x="1140" y="1580"/>
                      <a:pt x="1071" y="1580"/>
                    </a:cubicBezTo>
                    <a:cubicBezTo>
                      <a:pt x="1003" y="1580"/>
                      <a:pt x="947" y="1635"/>
                      <a:pt x="947" y="1704"/>
                    </a:cubicBezTo>
                    <a:cubicBezTo>
                      <a:pt x="947" y="1772"/>
                      <a:pt x="1003" y="1828"/>
                      <a:pt x="1071" y="1828"/>
                    </a:cubicBezTo>
                    <a:cubicBezTo>
                      <a:pt x="1140" y="1828"/>
                      <a:pt x="1195" y="1772"/>
                      <a:pt x="1195" y="1704"/>
                    </a:cubicBezTo>
                    <a:close/>
                    <a:moveTo>
                      <a:pt x="1513" y="1704"/>
                    </a:moveTo>
                    <a:cubicBezTo>
                      <a:pt x="1513" y="1635"/>
                      <a:pt x="1458" y="1580"/>
                      <a:pt x="1389" y="1580"/>
                    </a:cubicBezTo>
                    <a:cubicBezTo>
                      <a:pt x="1321" y="1580"/>
                      <a:pt x="1265" y="1635"/>
                      <a:pt x="1265" y="1704"/>
                    </a:cubicBezTo>
                    <a:cubicBezTo>
                      <a:pt x="1265" y="1772"/>
                      <a:pt x="1321" y="1828"/>
                      <a:pt x="1389" y="1828"/>
                    </a:cubicBezTo>
                    <a:cubicBezTo>
                      <a:pt x="1458" y="1828"/>
                      <a:pt x="1513" y="1772"/>
                      <a:pt x="1513" y="1704"/>
                    </a:cubicBezTo>
                    <a:close/>
                    <a:moveTo>
                      <a:pt x="1828" y="1704"/>
                    </a:moveTo>
                    <a:cubicBezTo>
                      <a:pt x="1828" y="1635"/>
                      <a:pt x="1772" y="1580"/>
                      <a:pt x="1704" y="1580"/>
                    </a:cubicBezTo>
                    <a:cubicBezTo>
                      <a:pt x="1635" y="1580"/>
                      <a:pt x="1580" y="1635"/>
                      <a:pt x="1580" y="1704"/>
                    </a:cubicBezTo>
                    <a:cubicBezTo>
                      <a:pt x="1580" y="1772"/>
                      <a:pt x="1635" y="1828"/>
                      <a:pt x="1704" y="1828"/>
                    </a:cubicBezTo>
                    <a:cubicBezTo>
                      <a:pt x="1772" y="1828"/>
                      <a:pt x="1828" y="1772"/>
                      <a:pt x="1828" y="1704"/>
                    </a:cubicBezTo>
                    <a:close/>
                    <a:moveTo>
                      <a:pt x="248" y="1704"/>
                    </a:moveTo>
                    <a:cubicBezTo>
                      <a:pt x="248" y="1635"/>
                      <a:pt x="193" y="1580"/>
                      <a:pt x="124" y="1580"/>
                    </a:cubicBezTo>
                    <a:cubicBezTo>
                      <a:pt x="56" y="1580"/>
                      <a:pt x="0" y="1635"/>
                      <a:pt x="0" y="1704"/>
                    </a:cubicBezTo>
                    <a:cubicBezTo>
                      <a:pt x="0" y="1772"/>
                      <a:pt x="56" y="1828"/>
                      <a:pt x="124" y="1828"/>
                    </a:cubicBezTo>
                    <a:cubicBezTo>
                      <a:pt x="193" y="1828"/>
                      <a:pt x="248" y="1772"/>
                      <a:pt x="248" y="1704"/>
                    </a:cubicBezTo>
                    <a:close/>
                    <a:moveTo>
                      <a:pt x="563" y="1704"/>
                    </a:moveTo>
                    <a:cubicBezTo>
                      <a:pt x="563" y="1635"/>
                      <a:pt x="507" y="1580"/>
                      <a:pt x="439" y="1580"/>
                    </a:cubicBezTo>
                    <a:cubicBezTo>
                      <a:pt x="370" y="1580"/>
                      <a:pt x="315" y="1635"/>
                      <a:pt x="315" y="1704"/>
                    </a:cubicBezTo>
                    <a:cubicBezTo>
                      <a:pt x="315" y="1772"/>
                      <a:pt x="370" y="1828"/>
                      <a:pt x="439" y="1828"/>
                    </a:cubicBezTo>
                    <a:cubicBezTo>
                      <a:pt x="507" y="1828"/>
                      <a:pt x="563" y="1772"/>
                      <a:pt x="563" y="1704"/>
                    </a:cubicBezTo>
                    <a:close/>
                    <a:moveTo>
                      <a:pt x="468" y="1200"/>
                    </a:moveTo>
                    <a:cubicBezTo>
                      <a:pt x="468" y="871"/>
                      <a:pt x="468" y="871"/>
                      <a:pt x="468" y="871"/>
                    </a:cubicBezTo>
                    <a:cubicBezTo>
                      <a:pt x="468" y="859"/>
                      <a:pt x="458" y="849"/>
                      <a:pt x="446" y="849"/>
                    </a:cubicBezTo>
                    <a:cubicBezTo>
                      <a:pt x="117" y="849"/>
                      <a:pt x="117" y="849"/>
                      <a:pt x="117" y="849"/>
                    </a:cubicBezTo>
                    <a:cubicBezTo>
                      <a:pt x="105" y="849"/>
                      <a:pt x="95" y="859"/>
                      <a:pt x="95" y="871"/>
                    </a:cubicBezTo>
                    <a:cubicBezTo>
                      <a:pt x="95" y="1200"/>
                      <a:pt x="95" y="1200"/>
                      <a:pt x="95" y="1200"/>
                    </a:cubicBezTo>
                    <a:cubicBezTo>
                      <a:pt x="95" y="1212"/>
                      <a:pt x="105" y="1222"/>
                      <a:pt x="117" y="1222"/>
                    </a:cubicBezTo>
                    <a:cubicBezTo>
                      <a:pt x="446" y="1222"/>
                      <a:pt x="446" y="1222"/>
                      <a:pt x="446" y="1222"/>
                    </a:cubicBezTo>
                    <a:cubicBezTo>
                      <a:pt x="458" y="1222"/>
                      <a:pt x="468" y="1212"/>
                      <a:pt x="468" y="1200"/>
                    </a:cubicBezTo>
                    <a:close/>
                    <a:moveTo>
                      <a:pt x="1101" y="1200"/>
                    </a:moveTo>
                    <a:cubicBezTo>
                      <a:pt x="1101" y="871"/>
                      <a:pt x="1101" y="871"/>
                      <a:pt x="1101" y="871"/>
                    </a:cubicBezTo>
                    <a:cubicBezTo>
                      <a:pt x="1101" y="859"/>
                      <a:pt x="1091" y="849"/>
                      <a:pt x="1079" y="849"/>
                    </a:cubicBezTo>
                    <a:cubicBezTo>
                      <a:pt x="749" y="849"/>
                      <a:pt x="749" y="849"/>
                      <a:pt x="749" y="849"/>
                    </a:cubicBezTo>
                    <a:cubicBezTo>
                      <a:pt x="737" y="849"/>
                      <a:pt x="727" y="859"/>
                      <a:pt x="727" y="871"/>
                    </a:cubicBezTo>
                    <a:cubicBezTo>
                      <a:pt x="727" y="1200"/>
                      <a:pt x="727" y="1200"/>
                      <a:pt x="727" y="1200"/>
                    </a:cubicBezTo>
                    <a:cubicBezTo>
                      <a:pt x="727" y="1212"/>
                      <a:pt x="737" y="1222"/>
                      <a:pt x="749" y="1222"/>
                    </a:cubicBezTo>
                    <a:cubicBezTo>
                      <a:pt x="1079" y="1222"/>
                      <a:pt x="1079" y="1222"/>
                      <a:pt x="1079" y="1222"/>
                    </a:cubicBezTo>
                    <a:cubicBezTo>
                      <a:pt x="1091" y="1222"/>
                      <a:pt x="1101" y="1212"/>
                      <a:pt x="1101" y="1200"/>
                    </a:cubicBezTo>
                    <a:close/>
                    <a:moveTo>
                      <a:pt x="1733" y="1200"/>
                    </a:moveTo>
                    <a:cubicBezTo>
                      <a:pt x="1733" y="871"/>
                      <a:pt x="1733" y="871"/>
                      <a:pt x="1733" y="871"/>
                    </a:cubicBezTo>
                    <a:cubicBezTo>
                      <a:pt x="1733" y="859"/>
                      <a:pt x="1723" y="849"/>
                      <a:pt x="1711" y="849"/>
                    </a:cubicBezTo>
                    <a:cubicBezTo>
                      <a:pt x="1382" y="849"/>
                      <a:pt x="1382" y="849"/>
                      <a:pt x="1382" y="849"/>
                    </a:cubicBezTo>
                    <a:cubicBezTo>
                      <a:pt x="1370" y="849"/>
                      <a:pt x="1360" y="859"/>
                      <a:pt x="1360" y="871"/>
                    </a:cubicBezTo>
                    <a:cubicBezTo>
                      <a:pt x="1360" y="1200"/>
                      <a:pt x="1360" y="1200"/>
                      <a:pt x="1360" y="1200"/>
                    </a:cubicBezTo>
                    <a:cubicBezTo>
                      <a:pt x="1360" y="1212"/>
                      <a:pt x="1370" y="1222"/>
                      <a:pt x="1382" y="1222"/>
                    </a:cubicBezTo>
                    <a:cubicBezTo>
                      <a:pt x="1711" y="1222"/>
                      <a:pt x="1711" y="1222"/>
                      <a:pt x="1711" y="1222"/>
                    </a:cubicBezTo>
                    <a:cubicBezTo>
                      <a:pt x="1723" y="1222"/>
                      <a:pt x="1733" y="1212"/>
                      <a:pt x="1733" y="12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6">
                <a:extLst>
                  <a:ext uri="{FF2B5EF4-FFF2-40B4-BE49-F238E27FC236}">
                    <a16:creationId xmlns:a16="http://schemas.microsoft.com/office/drawing/2014/main" id="{810E94BE-ACE6-EA42-BC20-75D56B043510}"/>
                  </a:ext>
                </a:extLst>
              </p:cNvPr>
              <p:cNvSpPr>
                <a:spLocks noEditPoints="1"/>
              </p:cNvSpPr>
              <p:nvPr/>
            </p:nvSpPr>
            <p:spPr bwMode="auto">
              <a:xfrm>
                <a:off x="4588629" y="2757984"/>
                <a:ext cx="878823" cy="543125"/>
              </a:xfrm>
              <a:custGeom>
                <a:avLst/>
                <a:gdLst>
                  <a:gd name="T0" fmla="*/ 359 w 1624"/>
                  <a:gd name="T1" fmla="*/ 1003 h 1003"/>
                  <a:gd name="T2" fmla="*/ 315 w 1624"/>
                  <a:gd name="T3" fmla="*/ 1003 h 1003"/>
                  <a:gd name="T4" fmla="*/ 44 w 1624"/>
                  <a:gd name="T5" fmla="*/ 889 h 1003"/>
                  <a:gd name="T6" fmla="*/ 22 w 1624"/>
                  <a:gd name="T7" fmla="*/ 1002 h 1003"/>
                  <a:gd name="T8" fmla="*/ 0 w 1624"/>
                  <a:gd name="T9" fmla="*/ 867 h 1003"/>
                  <a:gd name="T10" fmla="*/ 157 w 1624"/>
                  <a:gd name="T11" fmla="*/ 845 h 1003"/>
                  <a:gd name="T12" fmla="*/ 201 w 1624"/>
                  <a:gd name="T13" fmla="*/ 732 h 1003"/>
                  <a:gd name="T14" fmla="*/ 337 w 1624"/>
                  <a:gd name="T15" fmla="*/ 845 h 1003"/>
                  <a:gd name="T16" fmla="*/ 969 w 1624"/>
                  <a:gd name="T17" fmla="*/ 845 h 1003"/>
                  <a:gd name="T18" fmla="*/ 834 w 1624"/>
                  <a:gd name="T19" fmla="*/ 732 h 1003"/>
                  <a:gd name="T20" fmla="*/ 790 w 1624"/>
                  <a:gd name="T21" fmla="*/ 845 h 1003"/>
                  <a:gd name="T22" fmla="*/ 633 w 1624"/>
                  <a:gd name="T23" fmla="*/ 867 h 1003"/>
                  <a:gd name="T24" fmla="*/ 655 w 1624"/>
                  <a:gd name="T25" fmla="*/ 1002 h 1003"/>
                  <a:gd name="T26" fmla="*/ 677 w 1624"/>
                  <a:gd name="T27" fmla="*/ 889 h 1003"/>
                  <a:gd name="T28" fmla="*/ 947 w 1624"/>
                  <a:gd name="T29" fmla="*/ 1003 h 1003"/>
                  <a:gd name="T30" fmla="*/ 991 w 1624"/>
                  <a:gd name="T31" fmla="*/ 1003 h 1003"/>
                  <a:gd name="T32" fmla="*/ 969 w 1624"/>
                  <a:gd name="T33" fmla="*/ 845 h 1003"/>
                  <a:gd name="T34" fmla="*/ 1467 w 1624"/>
                  <a:gd name="T35" fmla="*/ 845 h 1003"/>
                  <a:gd name="T36" fmla="*/ 1423 w 1624"/>
                  <a:gd name="T37" fmla="*/ 732 h 1003"/>
                  <a:gd name="T38" fmla="*/ 1287 w 1624"/>
                  <a:gd name="T39" fmla="*/ 845 h 1003"/>
                  <a:gd name="T40" fmla="*/ 1265 w 1624"/>
                  <a:gd name="T41" fmla="*/ 1003 h 1003"/>
                  <a:gd name="T42" fmla="*/ 1309 w 1624"/>
                  <a:gd name="T43" fmla="*/ 1003 h 1003"/>
                  <a:gd name="T44" fmla="*/ 1580 w 1624"/>
                  <a:gd name="T45" fmla="*/ 889 h 1003"/>
                  <a:gd name="T46" fmla="*/ 1602 w 1624"/>
                  <a:gd name="T47" fmla="*/ 1002 h 1003"/>
                  <a:gd name="T48" fmla="*/ 1624 w 1624"/>
                  <a:gd name="T49" fmla="*/ 867 h 1003"/>
                  <a:gd name="T50" fmla="*/ 1445 w 1624"/>
                  <a:gd name="T51" fmla="*/ 114 h 1003"/>
                  <a:gd name="T52" fmla="*/ 834 w 1624"/>
                  <a:gd name="T53" fmla="*/ 0 h 1003"/>
                  <a:gd name="T54" fmla="*/ 790 w 1624"/>
                  <a:gd name="T55" fmla="*/ 0 h 1003"/>
                  <a:gd name="T56" fmla="*/ 179 w 1624"/>
                  <a:gd name="T57" fmla="*/ 114 h 1003"/>
                  <a:gd name="T58" fmla="*/ 157 w 1624"/>
                  <a:gd name="T59" fmla="*/ 271 h 1003"/>
                  <a:gd name="T60" fmla="*/ 201 w 1624"/>
                  <a:gd name="T61" fmla="*/ 158 h 1003"/>
                  <a:gd name="T62" fmla="*/ 790 w 1624"/>
                  <a:gd name="T63" fmla="*/ 271 h 1003"/>
                  <a:gd name="T64" fmla="*/ 834 w 1624"/>
                  <a:gd name="T65" fmla="*/ 158 h 1003"/>
                  <a:gd name="T66" fmla="*/ 1423 w 1624"/>
                  <a:gd name="T67" fmla="*/ 271 h 1003"/>
                  <a:gd name="T68" fmla="*/ 1467 w 1624"/>
                  <a:gd name="T69" fmla="*/ 13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4" h="1003">
                    <a:moveTo>
                      <a:pt x="359" y="867"/>
                    </a:moveTo>
                    <a:cubicBezTo>
                      <a:pt x="359" y="1003"/>
                      <a:pt x="359" y="1003"/>
                      <a:pt x="359" y="1003"/>
                    </a:cubicBezTo>
                    <a:cubicBezTo>
                      <a:pt x="352" y="1002"/>
                      <a:pt x="344" y="1002"/>
                      <a:pt x="337" y="1002"/>
                    </a:cubicBezTo>
                    <a:cubicBezTo>
                      <a:pt x="329" y="1002"/>
                      <a:pt x="322" y="1002"/>
                      <a:pt x="315" y="1003"/>
                    </a:cubicBezTo>
                    <a:cubicBezTo>
                      <a:pt x="315" y="889"/>
                      <a:pt x="315" y="889"/>
                      <a:pt x="315" y="889"/>
                    </a:cubicBezTo>
                    <a:cubicBezTo>
                      <a:pt x="44" y="889"/>
                      <a:pt x="44" y="889"/>
                      <a:pt x="44" y="889"/>
                    </a:cubicBezTo>
                    <a:cubicBezTo>
                      <a:pt x="44" y="1003"/>
                      <a:pt x="44" y="1003"/>
                      <a:pt x="44" y="1003"/>
                    </a:cubicBezTo>
                    <a:cubicBezTo>
                      <a:pt x="37" y="1002"/>
                      <a:pt x="30" y="1002"/>
                      <a:pt x="22" y="1002"/>
                    </a:cubicBezTo>
                    <a:cubicBezTo>
                      <a:pt x="15" y="1002"/>
                      <a:pt x="7" y="1002"/>
                      <a:pt x="0" y="1003"/>
                    </a:cubicBezTo>
                    <a:cubicBezTo>
                      <a:pt x="0" y="867"/>
                      <a:pt x="0" y="867"/>
                      <a:pt x="0" y="867"/>
                    </a:cubicBezTo>
                    <a:cubicBezTo>
                      <a:pt x="0" y="855"/>
                      <a:pt x="10" y="845"/>
                      <a:pt x="22" y="845"/>
                    </a:cubicBezTo>
                    <a:cubicBezTo>
                      <a:pt x="157" y="845"/>
                      <a:pt x="157" y="845"/>
                      <a:pt x="157" y="845"/>
                    </a:cubicBezTo>
                    <a:cubicBezTo>
                      <a:pt x="157" y="732"/>
                      <a:pt x="157" y="732"/>
                      <a:pt x="157" y="732"/>
                    </a:cubicBezTo>
                    <a:cubicBezTo>
                      <a:pt x="201" y="732"/>
                      <a:pt x="201" y="732"/>
                      <a:pt x="201" y="732"/>
                    </a:cubicBezTo>
                    <a:cubicBezTo>
                      <a:pt x="201" y="845"/>
                      <a:pt x="201" y="845"/>
                      <a:pt x="201" y="845"/>
                    </a:cubicBezTo>
                    <a:cubicBezTo>
                      <a:pt x="337" y="845"/>
                      <a:pt x="337" y="845"/>
                      <a:pt x="337" y="845"/>
                    </a:cubicBezTo>
                    <a:cubicBezTo>
                      <a:pt x="349" y="845"/>
                      <a:pt x="359" y="855"/>
                      <a:pt x="359" y="867"/>
                    </a:cubicBezTo>
                    <a:close/>
                    <a:moveTo>
                      <a:pt x="969" y="845"/>
                    </a:moveTo>
                    <a:cubicBezTo>
                      <a:pt x="834" y="845"/>
                      <a:pt x="834" y="845"/>
                      <a:pt x="834" y="845"/>
                    </a:cubicBezTo>
                    <a:cubicBezTo>
                      <a:pt x="834" y="732"/>
                      <a:pt x="834" y="732"/>
                      <a:pt x="834" y="732"/>
                    </a:cubicBezTo>
                    <a:cubicBezTo>
                      <a:pt x="790" y="732"/>
                      <a:pt x="790" y="732"/>
                      <a:pt x="790" y="732"/>
                    </a:cubicBezTo>
                    <a:cubicBezTo>
                      <a:pt x="790" y="845"/>
                      <a:pt x="790" y="845"/>
                      <a:pt x="790" y="845"/>
                    </a:cubicBezTo>
                    <a:cubicBezTo>
                      <a:pt x="655" y="845"/>
                      <a:pt x="655" y="845"/>
                      <a:pt x="655" y="845"/>
                    </a:cubicBezTo>
                    <a:cubicBezTo>
                      <a:pt x="643" y="845"/>
                      <a:pt x="633" y="855"/>
                      <a:pt x="633" y="867"/>
                    </a:cubicBezTo>
                    <a:cubicBezTo>
                      <a:pt x="633" y="1003"/>
                      <a:pt x="633" y="1003"/>
                      <a:pt x="633" y="1003"/>
                    </a:cubicBezTo>
                    <a:cubicBezTo>
                      <a:pt x="640" y="1002"/>
                      <a:pt x="647" y="1002"/>
                      <a:pt x="655" y="1002"/>
                    </a:cubicBezTo>
                    <a:cubicBezTo>
                      <a:pt x="662" y="1002"/>
                      <a:pt x="669" y="1002"/>
                      <a:pt x="677" y="1003"/>
                    </a:cubicBezTo>
                    <a:cubicBezTo>
                      <a:pt x="677" y="889"/>
                      <a:pt x="677" y="889"/>
                      <a:pt x="677" y="889"/>
                    </a:cubicBezTo>
                    <a:cubicBezTo>
                      <a:pt x="947" y="889"/>
                      <a:pt x="947" y="889"/>
                      <a:pt x="947" y="889"/>
                    </a:cubicBezTo>
                    <a:cubicBezTo>
                      <a:pt x="947" y="1003"/>
                      <a:pt x="947" y="1003"/>
                      <a:pt x="947" y="1003"/>
                    </a:cubicBezTo>
                    <a:cubicBezTo>
                      <a:pt x="955" y="1002"/>
                      <a:pt x="962" y="1002"/>
                      <a:pt x="969" y="1002"/>
                    </a:cubicBezTo>
                    <a:cubicBezTo>
                      <a:pt x="977" y="1002"/>
                      <a:pt x="984" y="1002"/>
                      <a:pt x="991" y="1003"/>
                    </a:cubicBezTo>
                    <a:cubicBezTo>
                      <a:pt x="991" y="867"/>
                      <a:pt x="991" y="867"/>
                      <a:pt x="991" y="867"/>
                    </a:cubicBezTo>
                    <a:cubicBezTo>
                      <a:pt x="991" y="855"/>
                      <a:pt x="981" y="845"/>
                      <a:pt x="969" y="845"/>
                    </a:cubicBezTo>
                    <a:close/>
                    <a:moveTo>
                      <a:pt x="1602" y="845"/>
                    </a:moveTo>
                    <a:cubicBezTo>
                      <a:pt x="1467" y="845"/>
                      <a:pt x="1467" y="845"/>
                      <a:pt x="1467" y="845"/>
                    </a:cubicBezTo>
                    <a:cubicBezTo>
                      <a:pt x="1467" y="732"/>
                      <a:pt x="1467" y="732"/>
                      <a:pt x="1467" y="732"/>
                    </a:cubicBezTo>
                    <a:cubicBezTo>
                      <a:pt x="1423" y="732"/>
                      <a:pt x="1423" y="732"/>
                      <a:pt x="1423" y="732"/>
                    </a:cubicBezTo>
                    <a:cubicBezTo>
                      <a:pt x="1423" y="845"/>
                      <a:pt x="1423" y="845"/>
                      <a:pt x="1423" y="845"/>
                    </a:cubicBezTo>
                    <a:cubicBezTo>
                      <a:pt x="1287" y="845"/>
                      <a:pt x="1287" y="845"/>
                      <a:pt x="1287" y="845"/>
                    </a:cubicBezTo>
                    <a:cubicBezTo>
                      <a:pt x="1275" y="845"/>
                      <a:pt x="1265" y="855"/>
                      <a:pt x="1265" y="867"/>
                    </a:cubicBezTo>
                    <a:cubicBezTo>
                      <a:pt x="1265" y="1003"/>
                      <a:pt x="1265" y="1003"/>
                      <a:pt x="1265" y="1003"/>
                    </a:cubicBezTo>
                    <a:cubicBezTo>
                      <a:pt x="1272" y="1002"/>
                      <a:pt x="1280" y="1002"/>
                      <a:pt x="1287" y="1002"/>
                    </a:cubicBezTo>
                    <a:cubicBezTo>
                      <a:pt x="1295" y="1002"/>
                      <a:pt x="1302" y="1002"/>
                      <a:pt x="1309" y="1003"/>
                    </a:cubicBezTo>
                    <a:cubicBezTo>
                      <a:pt x="1309" y="889"/>
                      <a:pt x="1309" y="889"/>
                      <a:pt x="1309" y="889"/>
                    </a:cubicBezTo>
                    <a:cubicBezTo>
                      <a:pt x="1580" y="889"/>
                      <a:pt x="1580" y="889"/>
                      <a:pt x="1580" y="889"/>
                    </a:cubicBezTo>
                    <a:cubicBezTo>
                      <a:pt x="1580" y="1003"/>
                      <a:pt x="1580" y="1003"/>
                      <a:pt x="1580" y="1003"/>
                    </a:cubicBezTo>
                    <a:cubicBezTo>
                      <a:pt x="1587" y="1002"/>
                      <a:pt x="1594" y="1002"/>
                      <a:pt x="1602" y="1002"/>
                    </a:cubicBezTo>
                    <a:cubicBezTo>
                      <a:pt x="1609" y="1002"/>
                      <a:pt x="1617" y="1002"/>
                      <a:pt x="1624" y="1003"/>
                    </a:cubicBezTo>
                    <a:cubicBezTo>
                      <a:pt x="1624" y="867"/>
                      <a:pt x="1624" y="867"/>
                      <a:pt x="1624" y="867"/>
                    </a:cubicBezTo>
                    <a:cubicBezTo>
                      <a:pt x="1624" y="855"/>
                      <a:pt x="1614" y="845"/>
                      <a:pt x="1602" y="845"/>
                    </a:cubicBezTo>
                    <a:close/>
                    <a:moveTo>
                      <a:pt x="1445" y="114"/>
                    </a:moveTo>
                    <a:cubicBezTo>
                      <a:pt x="834" y="114"/>
                      <a:pt x="834" y="114"/>
                      <a:pt x="834" y="114"/>
                    </a:cubicBezTo>
                    <a:cubicBezTo>
                      <a:pt x="834" y="0"/>
                      <a:pt x="834" y="0"/>
                      <a:pt x="834" y="0"/>
                    </a:cubicBezTo>
                    <a:cubicBezTo>
                      <a:pt x="827" y="1"/>
                      <a:pt x="819" y="1"/>
                      <a:pt x="812" y="1"/>
                    </a:cubicBezTo>
                    <a:cubicBezTo>
                      <a:pt x="805" y="1"/>
                      <a:pt x="797" y="1"/>
                      <a:pt x="790" y="0"/>
                    </a:cubicBezTo>
                    <a:cubicBezTo>
                      <a:pt x="790" y="114"/>
                      <a:pt x="790" y="114"/>
                      <a:pt x="790" y="114"/>
                    </a:cubicBezTo>
                    <a:cubicBezTo>
                      <a:pt x="179" y="114"/>
                      <a:pt x="179" y="114"/>
                      <a:pt x="179" y="114"/>
                    </a:cubicBezTo>
                    <a:cubicBezTo>
                      <a:pt x="167" y="114"/>
                      <a:pt x="157" y="124"/>
                      <a:pt x="157" y="136"/>
                    </a:cubicBezTo>
                    <a:cubicBezTo>
                      <a:pt x="157" y="271"/>
                      <a:pt x="157" y="271"/>
                      <a:pt x="157" y="271"/>
                    </a:cubicBezTo>
                    <a:cubicBezTo>
                      <a:pt x="201" y="271"/>
                      <a:pt x="201" y="271"/>
                      <a:pt x="201" y="271"/>
                    </a:cubicBezTo>
                    <a:cubicBezTo>
                      <a:pt x="201" y="158"/>
                      <a:pt x="201" y="158"/>
                      <a:pt x="201" y="158"/>
                    </a:cubicBezTo>
                    <a:cubicBezTo>
                      <a:pt x="790" y="158"/>
                      <a:pt x="790" y="158"/>
                      <a:pt x="790" y="158"/>
                    </a:cubicBezTo>
                    <a:cubicBezTo>
                      <a:pt x="790" y="271"/>
                      <a:pt x="790" y="271"/>
                      <a:pt x="790" y="271"/>
                    </a:cubicBezTo>
                    <a:cubicBezTo>
                      <a:pt x="834" y="271"/>
                      <a:pt x="834" y="271"/>
                      <a:pt x="834" y="271"/>
                    </a:cubicBezTo>
                    <a:cubicBezTo>
                      <a:pt x="834" y="158"/>
                      <a:pt x="834" y="158"/>
                      <a:pt x="834" y="158"/>
                    </a:cubicBezTo>
                    <a:cubicBezTo>
                      <a:pt x="1423" y="158"/>
                      <a:pt x="1423" y="158"/>
                      <a:pt x="1423" y="158"/>
                    </a:cubicBezTo>
                    <a:cubicBezTo>
                      <a:pt x="1423" y="271"/>
                      <a:pt x="1423" y="271"/>
                      <a:pt x="1423" y="271"/>
                    </a:cubicBezTo>
                    <a:cubicBezTo>
                      <a:pt x="1467" y="271"/>
                      <a:pt x="1467" y="271"/>
                      <a:pt x="1467" y="271"/>
                    </a:cubicBezTo>
                    <a:cubicBezTo>
                      <a:pt x="1467" y="136"/>
                      <a:pt x="1467" y="136"/>
                      <a:pt x="1467" y="136"/>
                    </a:cubicBezTo>
                    <a:cubicBezTo>
                      <a:pt x="1467" y="124"/>
                      <a:pt x="1457" y="114"/>
                      <a:pt x="1445" y="1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90" name="Content Placeholder 5">
            <a:extLst>
              <a:ext uri="{FF2B5EF4-FFF2-40B4-BE49-F238E27FC236}">
                <a16:creationId xmlns:a16="http://schemas.microsoft.com/office/drawing/2014/main" id="{BF267852-2025-FF43-8034-EB16A3651B97}"/>
              </a:ext>
            </a:extLst>
          </p:cNvPr>
          <p:cNvSpPr txBox="1">
            <a:spLocks/>
          </p:cNvSpPr>
          <p:nvPr/>
        </p:nvSpPr>
        <p:spPr>
          <a:xfrm>
            <a:off x="6076907" y="4022437"/>
            <a:ext cx="1712924" cy="93464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r>
              <a:rPr lang="fr-FR" altLang="fr-FR" sz="1600" dirty="0">
                <a:solidFill>
                  <a:schemeClr val="tx1">
                    <a:lumMod val="100000"/>
                  </a:schemeClr>
                </a:solidFill>
                <a:latin typeface="Trebuchet MS" panose="020B0603020202020204" pitchFamily="34" charset="0"/>
              </a:rPr>
              <a:t>Développer et tester des modèles prédictifs</a:t>
            </a:r>
          </a:p>
        </p:txBody>
      </p:sp>
      <p:grpSp>
        <p:nvGrpSpPr>
          <p:cNvPr id="27" name="Group 26">
            <a:extLst>
              <a:ext uri="{FF2B5EF4-FFF2-40B4-BE49-F238E27FC236}">
                <a16:creationId xmlns:a16="http://schemas.microsoft.com/office/drawing/2014/main" id="{660C36D3-36EB-6F4F-AB2C-5218EC8F35B5}"/>
              </a:ext>
            </a:extLst>
          </p:cNvPr>
          <p:cNvGrpSpPr/>
          <p:nvPr/>
        </p:nvGrpSpPr>
        <p:grpSpPr>
          <a:xfrm>
            <a:off x="6113040" y="2256363"/>
            <a:ext cx="1640659" cy="1640659"/>
            <a:chOff x="6113040" y="2143349"/>
            <a:chExt cx="1640659" cy="1640659"/>
          </a:xfrm>
        </p:grpSpPr>
        <p:sp>
          <p:nvSpPr>
            <p:cNvPr id="44" name="Oval 43"/>
            <p:cNvSpPr>
              <a:spLocks noChangeAspect="1"/>
            </p:cNvSpPr>
            <p:nvPr/>
          </p:nvSpPr>
          <p:spPr>
            <a:xfrm>
              <a:off x="6113040" y="2143349"/>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91" name="Group 90">
              <a:extLst>
                <a:ext uri="{FF2B5EF4-FFF2-40B4-BE49-F238E27FC236}">
                  <a16:creationId xmlns:a16="http://schemas.microsoft.com/office/drawing/2014/main" id="{B7749E2F-2C3A-C240-8218-4266062900F4}"/>
                </a:ext>
              </a:extLst>
            </p:cNvPr>
            <p:cNvGrpSpPr>
              <a:grpSpLocks noChangeAspect="1"/>
            </p:cNvGrpSpPr>
            <p:nvPr/>
          </p:nvGrpSpPr>
          <p:grpSpPr>
            <a:xfrm>
              <a:off x="6371167" y="2401477"/>
              <a:ext cx="1124403" cy="1124403"/>
              <a:chOff x="5273675" y="2600325"/>
              <a:chExt cx="1646238" cy="1646238"/>
            </a:xfrm>
          </p:grpSpPr>
          <p:sp>
            <p:nvSpPr>
              <p:cNvPr id="92" name="AutoShape 11">
                <a:extLst>
                  <a:ext uri="{FF2B5EF4-FFF2-40B4-BE49-F238E27FC236}">
                    <a16:creationId xmlns:a16="http://schemas.microsoft.com/office/drawing/2014/main" id="{91C7DCD7-6857-CE4C-8336-D518B3709D01}"/>
                  </a:ext>
                </a:extLst>
              </p:cNvPr>
              <p:cNvSpPr>
                <a:spLocks noChangeAspect="1" noChangeArrowheads="1" noTextEdit="1"/>
              </p:cNvSpPr>
              <p:nvPr/>
            </p:nvSpPr>
            <p:spPr bwMode="auto">
              <a:xfrm>
                <a:off x="5273675" y="260032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3" name="Group 92">
                <a:extLst>
                  <a:ext uri="{FF2B5EF4-FFF2-40B4-BE49-F238E27FC236}">
                    <a16:creationId xmlns:a16="http://schemas.microsoft.com/office/drawing/2014/main" id="{BABE3806-6B4C-7148-8A25-2322493A8817}"/>
                  </a:ext>
                </a:extLst>
              </p:cNvPr>
              <p:cNvGrpSpPr/>
              <p:nvPr/>
            </p:nvGrpSpPr>
            <p:grpSpPr>
              <a:xfrm>
                <a:off x="5556250" y="2813050"/>
                <a:ext cx="1079500" cy="1219200"/>
                <a:chOff x="5556250" y="2813050"/>
                <a:chExt cx="1079500" cy="1219200"/>
              </a:xfrm>
            </p:grpSpPr>
            <p:sp>
              <p:nvSpPr>
                <p:cNvPr id="94" name="Freeform 93">
                  <a:extLst>
                    <a:ext uri="{FF2B5EF4-FFF2-40B4-BE49-F238E27FC236}">
                      <a16:creationId xmlns:a16="http://schemas.microsoft.com/office/drawing/2014/main" id="{9F4CC9FB-11B3-F64C-8187-F2BB1ED879F8}"/>
                    </a:ext>
                  </a:extLst>
                </p:cNvPr>
                <p:cNvSpPr>
                  <a:spLocks/>
                </p:cNvSpPr>
                <p:nvPr/>
              </p:nvSpPr>
              <p:spPr bwMode="auto">
                <a:xfrm>
                  <a:off x="5556250" y="2813050"/>
                  <a:ext cx="1079500" cy="1219200"/>
                </a:xfrm>
                <a:custGeom>
                  <a:avLst/>
                  <a:gdLst>
                    <a:gd name="connsiteX0" fmla="*/ 691575 w 1079500"/>
                    <a:gd name="connsiteY0" fmla="*/ 31750 h 1219200"/>
                    <a:gd name="connsiteX1" fmla="*/ 562781 w 1079500"/>
                    <a:gd name="connsiteY1" fmla="*/ 91035 h 1219200"/>
                    <a:gd name="connsiteX2" fmla="*/ 555625 w 1079500"/>
                    <a:gd name="connsiteY2" fmla="*/ 98892 h 1219200"/>
                    <a:gd name="connsiteX3" fmla="*/ 555625 w 1079500"/>
                    <a:gd name="connsiteY3" fmla="*/ 1098166 h 1219200"/>
                    <a:gd name="connsiteX4" fmla="*/ 648644 w 1079500"/>
                    <a:gd name="connsiteY4" fmla="*/ 1187450 h 1219200"/>
                    <a:gd name="connsiteX5" fmla="*/ 788887 w 1079500"/>
                    <a:gd name="connsiteY5" fmla="*/ 1126022 h 1219200"/>
                    <a:gd name="connsiteX6" fmla="*/ 877612 w 1079500"/>
                    <a:gd name="connsiteY6" fmla="*/ 991024 h 1219200"/>
                    <a:gd name="connsiteX7" fmla="*/ 886198 w 1079500"/>
                    <a:gd name="connsiteY7" fmla="*/ 980310 h 1219200"/>
                    <a:gd name="connsiteX8" fmla="*/ 996389 w 1079500"/>
                    <a:gd name="connsiteY8" fmla="*/ 891740 h 1219200"/>
                    <a:gd name="connsiteX9" fmla="*/ 1049338 w 1079500"/>
                    <a:gd name="connsiteY9" fmla="*/ 724599 h 1219200"/>
                    <a:gd name="connsiteX10" fmla="*/ 1012131 w 1079500"/>
                    <a:gd name="connsiteY10" fmla="*/ 581743 h 1219200"/>
                    <a:gd name="connsiteX11" fmla="*/ 1012131 w 1079500"/>
                    <a:gd name="connsiteY11" fmla="*/ 566744 h 1219200"/>
                    <a:gd name="connsiteX12" fmla="*/ 1044330 w 1079500"/>
                    <a:gd name="connsiteY12" fmla="*/ 441745 h 1219200"/>
                    <a:gd name="connsiteX13" fmla="*/ 986372 w 1079500"/>
                    <a:gd name="connsiteY13" fmla="*/ 280318 h 1219200"/>
                    <a:gd name="connsiteX14" fmla="*/ 878327 w 1079500"/>
                    <a:gd name="connsiteY14" fmla="*/ 206034 h 1219200"/>
                    <a:gd name="connsiteX15" fmla="*/ 866879 w 1079500"/>
                    <a:gd name="connsiteY15" fmla="*/ 193177 h 1219200"/>
                    <a:gd name="connsiteX16" fmla="*/ 691575 w 1079500"/>
                    <a:gd name="connsiteY16" fmla="*/ 31750 h 1219200"/>
                    <a:gd name="connsiteX17" fmla="*/ 388363 w 1079500"/>
                    <a:gd name="connsiteY17" fmla="*/ 31750 h 1219200"/>
                    <a:gd name="connsiteX18" fmla="*/ 213623 w 1079500"/>
                    <a:gd name="connsiteY18" fmla="*/ 193177 h 1219200"/>
                    <a:gd name="connsiteX19" fmla="*/ 202211 w 1079500"/>
                    <a:gd name="connsiteY19" fmla="*/ 206034 h 1219200"/>
                    <a:gd name="connsiteX20" fmla="*/ 94514 w 1079500"/>
                    <a:gd name="connsiteY20" fmla="*/ 280318 h 1219200"/>
                    <a:gd name="connsiteX21" fmla="*/ 36743 w 1079500"/>
                    <a:gd name="connsiteY21" fmla="*/ 441745 h 1219200"/>
                    <a:gd name="connsiteX22" fmla="*/ 68838 w 1079500"/>
                    <a:gd name="connsiteY22" fmla="*/ 566744 h 1219200"/>
                    <a:gd name="connsiteX23" fmla="*/ 68838 w 1079500"/>
                    <a:gd name="connsiteY23" fmla="*/ 581743 h 1219200"/>
                    <a:gd name="connsiteX24" fmla="*/ 31750 w 1079500"/>
                    <a:gd name="connsiteY24" fmla="*/ 724599 h 1219200"/>
                    <a:gd name="connsiteX25" fmla="*/ 84529 w 1079500"/>
                    <a:gd name="connsiteY25" fmla="*/ 891740 h 1219200"/>
                    <a:gd name="connsiteX26" fmla="*/ 194365 w 1079500"/>
                    <a:gd name="connsiteY26" fmla="*/ 980310 h 1219200"/>
                    <a:gd name="connsiteX27" fmla="*/ 202924 w 1079500"/>
                    <a:gd name="connsiteY27" fmla="*/ 991024 h 1219200"/>
                    <a:gd name="connsiteX28" fmla="*/ 280666 w 1079500"/>
                    <a:gd name="connsiteY28" fmla="*/ 1115308 h 1219200"/>
                    <a:gd name="connsiteX29" fmla="*/ 434009 w 1079500"/>
                    <a:gd name="connsiteY29" fmla="*/ 1187450 h 1219200"/>
                    <a:gd name="connsiteX30" fmla="*/ 523875 w 1079500"/>
                    <a:gd name="connsiteY30" fmla="*/ 1100308 h 1219200"/>
                    <a:gd name="connsiteX31" fmla="*/ 523875 w 1079500"/>
                    <a:gd name="connsiteY31" fmla="*/ 98892 h 1219200"/>
                    <a:gd name="connsiteX32" fmla="*/ 516743 w 1079500"/>
                    <a:gd name="connsiteY32" fmla="*/ 91035 h 1219200"/>
                    <a:gd name="connsiteX33" fmla="*/ 388363 w 1079500"/>
                    <a:gd name="connsiteY33" fmla="*/ 31750 h 1219200"/>
                    <a:gd name="connsiteX34" fmla="*/ 388392 w 1079500"/>
                    <a:gd name="connsiteY34" fmla="*/ 0 h 1219200"/>
                    <a:gd name="connsiteX35" fmla="*/ 539750 w 1079500"/>
                    <a:gd name="connsiteY35" fmla="*/ 68607 h 1219200"/>
                    <a:gd name="connsiteX36" fmla="*/ 691109 w 1079500"/>
                    <a:gd name="connsiteY36" fmla="*/ 0 h 1219200"/>
                    <a:gd name="connsiteX37" fmla="*/ 896014 w 1079500"/>
                    <a:gd name="connsiteY37" fmla="*/ 178664 h 1219200"/>
                    <a:gd name="connsiteX38" fmla="*/ 1009533 w 1079500"/>
                    <a:gd name="connsiteY38" fmla="*/ 260134 h 1219200"/>
                    <a:gd name="connsiteX39" fmla="*/ 1074503 w 1079500"/>
                    <a:gd name="connsiteY39" fmla="*/ 441656 h 1219200"/>
                    <a:gd name="connsiteX40" fmla="*/ 1042375 w 1079500"/>
                    <a:gd name="connsiteY40" fmla="*/ 573867 h 1219200"/>
                    <a:gd name="connsiteX41" fmla="*/ 1079500 w 1079500"/>
                    <a:gd name="connsiteY41" fmla="*/ 724659 h 1219200"/>
                    <a:gd name="connsiteX42" fmla="*/ 1020956 w 1079500"/>
                    <a:gd name="connsiteY42" fmla="*/ 909755 h 1219200"/>
                    <a:gd name="connsiteX43" fmla="*/ 905295 w 1079500"/>
                    <a:gd name="connsiteY43" fmla="*/ 1006233 h 1219200"/>
                    <a:gd name="connsiteX44" fmla="*/ 808911 w 1079500"/>
                    <a:gd name="connsiteY44" fmla="*/ 1150593 h 1219200"/>
                    <a:gd name="connsiteX45" fmla="*/ 648271 w 1079500"/>
                    <a:gd name="connsiteY45" fmla="*/ 1219200 h 1219200"/>
                    <a:gd name="connsiteX46" fmla="*/ 541178 w 1079500"/>
                    <a:gd name="connsiteY46" fmla="*/ 1153452 h 1219200"/>
                    <a:gd name="connsiteX47" fmla="*/ 434085 w 1079500"/>
                    <a:gd name="connsiteY47" fmla="*/ 1219200 h 1219200"/>
                    <a:gd name="connsiteX48" fmla="*/ 258452 w 1079500"/>
                    <a:gd name="connsiteY48" fmla="*/ 1138444 h 1219200"/>
                    <a:gd name="connsiteX49" fmla="*/ 174205 w 1079500"/>
                    <a:gd name="connsiteY49" fmla="*/ 1006233 h 1219200"/>
                    <a:gd name="connsiteX50" fmla="*/ 58545 w 1079500"/>
                    <a:gd name="connsiteY50" fmla="*/ 909755 h 1219200"/>
                    <a:gd name="connsiteX51" fmla="*/ 0 w 1079500"/>
                    <a:gd name="connsiteY51" fmla="*/ 724659 h 1219200"/>
                    <a:gd name="connsiteX52" fmla="*/ 37126 w 1079500"/>
                    <a:gd name="connsiteY52" fmla="*/ 573867 h 1219200"/>
                    <a:gd name="connsiteX53" fmla="*/ 4998 w 1079500"/>
                    <a:gd name="connsiteY53" fmla="*/ 441656 h 1219200"/>
                    <a:gd name="connsiteX54" fmla="*/ 69968 w 1079500"/>
                    <a:gd name="connsiteY54" fmla="*/ 260134 h 1219200"/>
                    <a:gd name="connsiteX55" fmla="*/ 183487 w 1079500"/>
                    <a:gd name="connsiteY55" fmla="*/ 178664 h 1219200"/>
                    <a:gd name="connsiteX56" fmla="*/ 388392 w 1079500"/>
                    <a:gd name="connsiteY56" fmla="*/ 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079500" h="1219200">
                      <a:moveTo>
                        <a:pt x="691575" y="31750"/>
                      </a:moveTo>
                      <a:cubicBezTo>
                        <a:pt x="642919" y="31750"/>
                        <a:pt x="595695" y="53178"/>
                        <a:pt x="562781" y="91035"/>
                      </a:cubicBezTo>
                      <a:cubicBezTo>
                        <a:pt x="562781" y="91035"/>
                        <a:pt x="562781" y="91035"/>
                        <a:pt x="555625" y="98892"/>
                      </a:cubicBezTo>
                      <a:cubicBezTo>
                        <a:pt x="555625" y="98892"/>
                        <a:pt x="555625" y="98892"/>
                        <a:pt x="555625" y="1098166"/>
                      </a:cubicBezTo>
                      <a:cubicBezTo>
                        <a:pt x="560634" y="1141022"/>
                        <a:pt x="597126" y="1187450"/>
                        <a:pt x="648644" y="1187450"/>
                      </a:cubicBezTo>
                      <a:cubicBezTo>
                        <a:pt x="693006" y="1187450"/>
                        <a:pt x="743809" y="1165308"/>
                        <a:pt x="788887" y="1126022"/>
                      </a:cubicBezTo>
                      <a:cubicBezTo>
                        <a:pt x="833965" y="1087451"/>
                        <a:pt x="866164" y="1038166"/>
                        <a:pt x="877612" y="991024"/>
                      </a:cubicBezTo>
                      <a:cubicBezTo>
                        <a:pt x="878327" y="986738"/>
                        <a:pt x="881905" y="982453"/>
                        <a:pt x="886198" y="980310"/>
                      </a:cubicBezTo>
                      <a:cubicBezTo>
                        <a:pt x="929845" y="961739"/>
                        <a:pt x="967768" y="931025"/>
                        <a:pt x="996389" y="891740"/>
                      </a:cubicBezTo>
                      <a:cubicBezTo>
                        <a:pt x="1030735" y="843169"/>
                        <a:pt x="1049338" y="785312"/>
                        <a:pt x="1049338" y="724599"/>
                      </a:cubicBezTo>
                      <a:cubicBezTo>
                        <a:pt x="1049338" y="673885"/>
                        <a:pt x="1036459" y="624600"/>
                        <a:pt x="1012131" y="581743"/>
                      </a:cubicBezTo>
                      <a:cubicBezTo>
                        <a:pt x="1009269" y="577458"/>
                        <a:pt x="1009269" y="571029"/>
                        <a:pt x="1012131" y="566744"/>
                      </a:cubicBezTo>
                      <a:cubicBezTo>
                        <a:pt x="1032881" y="528887"/>
                        <a:pt x="1044330" y="486030"/>
                        <a:pt x="1044330" y="441745"/>
                      </a:cubicBezTo>
                      <a:cubicBezTo>
                        <a:pt x="1044330" y="382460"/>
                        <a:pt x="1023579" y="324604"/>
                        <a:pt x="986372" y="280318"/>
                      </a:cubicBezTo>
                      <a:cubicBezTo>
                        <a:pt x="957751" y="244605"/>
                        <a:pt x="919828" y="219605"/>
                        <a:pt x="878327" y="206034"/>
                      </a:cubicBezTo>
                      <a:cubicBezTo>
                        <a:pt x="871888" y="203891"/>
                        <a:pt x="867595" y="198891"/>
                        <a:pt x="866879" y="193177"/>
                      </a:cubicBezTo>
                      <a:cubicBezTo>
                        <a:pt x="855431" y="101035"/>
                        <a:pt x="779585" y="31750"/>
                        <a:pt x="691575" y="31750"/>
                      </a:cubicBezTo>
                      <a:close/>
                      <a:moveTo>
                        <a:pt x="388363" y="31750"/>
                      </a:moveTo>
                      <a:cubicBezTo>
                        <a:pt x="300636" y="31750"/>
                        <a:pt x="225034" y="101035"/>
                        <a:pt x="213623" y="193177"/>
                      </a:cubicBezTo>
                      <a:cubicBezTo>
                        <a:pt x="212909" y="198891"/>
                        <a:pt x="208630" y="203891"/>
                        <a:pt x="202211" y="206034"/>
                      </a:cubicBezTo>
                      <a:cubicBezTo>
                        <a:pt x="160844" y="219605"/>
                        <a:pt x="123043" y="244605"/>
                        <a:pt x="94514" y="280318"/>
                      </a:cubicBezTo>
                      <a:cubicBezTo>
                        <a:pt x="57426" y="324604"/>
                        <a:pt x="36743" y="382460"/>
                        <a:pt x="36743" y="441745"/>
                      </a:cubicBezTo>
                      <a:cubicBezTo>
                        <a:pt x="36743" y="486030"/>
                        <a:pt x="48154" y="528887"/>
                        <a:pt x="68838" y="566744"/>
                      </a:cubicBezTo>
                      <a:cubicBezTo>
                        <a:pt x="71691" y="571029"/>
                        <a:pt x="71691" y="577458"/>
                        <a:pt x="68838" y="581743"/>
                      </a:cubicBezTo>
                      <a:cubicBezTo>
                        <a:pt x="44588" y="624600"/>
                        <a:pt x="31750" y="673885"/>
                        <a:pt x="31750" y="724599"/>
                      </a:cubicBezTo>
                      <a:cubicBezTo>
                        <a:pt x="31750" y="785312"/>
                        <a:pt x="50294" y="843169"/>
                        <a:pt x="84529" y="891740"/>
                      </a:cubicBezTo>
                      <a:cubicBezTo>
                        <a:pt x="113058" y="931025"/>
                        <a:pt x="150859" y="961739"/>
                        <a:pt x="194365" y="980310"/>
                      </a:cubicBezTo>
                      <a:cubicBezTo>
                        <a:pt x="198645" y="982453"/>
                        <a:pt x="202211" y="986738"/>
                        <a:pt x="202924" y="991024"/>
                      </a:cubicBezTo>
                      <a:cubicBezTo>
                        <a:pt x="213623" y="1033881"/>
                        <a:pt x="240725" y="1077452"/>
                        <a:pt x="280666" y="1115308"/>
                      </a:cubicBezTo>
                      <a:cubicBezTo>
                        <a:pt x="329165" y="1161022"/>
                        <a:pt x="384796" y="1187450"/>
                        <a:pt x="434009" y="1187450"/>
                      </a:cubicBezTo>
                      <a:cubicBezTo>
                        <a:pt x="483221" y="1187450"/>
                        <a:pt x="519596" y="1152451"/>
                        <a:pt x="523875" y="1100308"/>
                      </a:cubicBezTo>
                      <a:cubicBezTo>
                        <a:pt x="523875" y="1100308"/>
                        <a:pt x="523875" y="1100308"/>
                        <a:pt x="523875" y="98892"/>
                      </a:cubicBezTo>
                      <a:cubicBezTo>
                        <a:pt x="523875" y="98892"/>
                        <a:pt x="523875" y="98892"/>
                        <a:pt x="516743" y="91035"/>
                      </a:cubicBezTo>
                      <a:cubicBezTo>
                        <a:pt x="483935" y="53178"/>
                        <a:pt x="436862" y="31750"/>
                        <a:pt x="388363" y="31750"/>
                      </a:cubicBezTo>
                      <a:close/>
                      <a:moveTo>
                        <a:pt x="388392" y="0"/>
                      </a:moveTo>
                      <a:cubicBezTo>
                        <a:pt x="445508" y="0"/>
                        <a:pt x="500483" y="25013"/>
                        <a:pt x="539750" y="68607"/>
                      </a:cubicBezTo>
                      <a:cubicBezTo>
                        <a:pt x="579018" y="25013"/>
                        <a:pt x="633992" y="0"/>
                        <a:pt x="691109" y="0"/>
                      </a:cubicBezTo>
                      <a:cubicBezTo>
                        <a:pt x="791776" y="0"/>
                        <a:pt x="878165" y="76468"/>
                        <a:pt x="896014" y="178664"/>
                      </a:cubicBezTo>
                      <a:cubicBezTo>
                        <a:pt x="940279" y="195101"/>
                        <a:pt x="978833" y="222972"/>
                        <a:pt x="1009533" y="260134"/>
                      </a:cubicBezTo>
                      <a:cubicBezTo>
                        <a:pt x="1051656" y="310160"/>
                        <a:pt x="1074503" y="375194"/>
                        <a:pt x="1074503" y="441656"/>
                      </a:cubicBezTo>
                      <a:cubicBezTo>
                        <a:pt x="1074503" y="488109"/>
                        <a:pt x="1063079" y="533847"/>
                        <a:pt x="1042375" y="573867"/>
                      </a:cubicBezTo>
                      <a:cubicBezTo>
                        <a:pt x="1066649" y="619605"/>
                        <a:pt x="1079500" y="671775"/>
                        <a:pt x="1079500" y="724659"/>
                      </a:cubicBezTo>
                      <a:cubicBezTo>
                        <a:pt x="1079500" y="791837"/>
                        <a:pt x="1059509" y="856156"/>
                        <a:pt x="1020956" y="909755"/>
                      </a:cubicBezTo>
                      <a:cubicBezTo>
                        <a:pt x="990970" y="951919"/>
                        <a:pt x="950988" y="984794"/>
                        <a:pt x="905295" y="1006233"/>
                      </a:cubicBezTo>
                      <a:cubicBezTo>
                        <a:pt x="890302" y="1057688"/>
                        <a:pt x="856032" y="1109858"/>
                        <a:pt x="808911" y="1150593"/>
                      </a:cubicBezTo>
                      <a:cubicBezTo>
                        <a:pt x="758220" y="1194187"/>
                        <a:pt x="700390" y="1219200"/>
                        <a:pt x="648271" y="1219200"/>
                      </a:cubicBezTo>
                      <a:cubicBezTo>
                        <a:pt x="600436" y="1219200"/>
                        <a:pt x="561883" y="1190614"/>
                        <a:pt x="541178" y="1153452"/>
                      </a:cubicBezTo>
                      <a:cubicBezTo>
                        <a:pt x="521187" y="1194187"/>
                        <a:pt x="481920" y="1219200"/>
                        <a:pt x="434085" y="1219200"/>
                      </a:cubicBezTo>
                      <a:cubicBezTo>
                        <a:pt x="376968" y="1219200"/>
                        <a:pt x="313426" y="1189899"/>
                        <a:pt x="258452" y="1138444"/>
                      </a:cubicBezTo>
                      <a:cubicBezTo>
                        <a:pt x="217043" y="1098424"/>
                        <a:pt x="187770" y="1051971"/>
                        <a:pt x="174205" y="1006233"/>
                      </a:cubicBezTo>
                      <a:cubicBezTo>
                        <a:pt x="128512" y="984794"/>
                        <a:pt x="88531" y="951919"/>
                        <a:pt x="58545" y="909755"/>
                      </a:cubicBezTo>
                      <a:cubicBezTo>
                        <a:pt x="19991" y="856156"/>
                        <a:pt x="0" y="791837"/>
                        <a:pt x="0" y="724659"/>
                      </a:cubicBezTo>
                      <a:cubicBezTo>
                        <a:pt x="0" y="671775"/>
                        <a:pt x="12851" y="619605"/>
                        <a:pt x="37126" y="573867"/>
                      </a:cubicBezTo>
                      <a:cubicBezTo>
                        <a:pt x="16421" y="533847"/>
                        <a:pt x="4998" y="488109"/>
                        <a:pt x="4998" y="441656"/>
                      </a:cubicBezTo>
                      <a:cubicBezTo>
                        <a:pt x="4998" y="375194"/>
                        <a:pt x="27844" y="310160"/>
                        <a:pt x="69968" y="260134"/>
                      </a:cubicBezTo>
                      <a:cubicBezTo>
                        <a:pt x="100668" y="222972"/>
                        <a:pt x="139221" y="195101"/>
                        <a:pt x="183487" y="178664"/>
                      </a:cubicBezTo>
                      <a:cubicBezTo>
                        <a:pt x="201336" y="76468"/>
                        <a:pt x="287724" y="0"/>
                        <a:pt x="38839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5" name="Freeform 94">
                  <a:extLst>
                    <a:ext uri="{FF2B5EF4-FFF2-40B4-BE49-F238E27FC236}">
                      <a16:creationId xmlns:a16="http://schemas.microsoft.com/office/drawing/2014/main" id="{A0F1DEA3-6D53-BC4D-B963-1AE03142B78F}"/>
                    </a:ext>
                  </a:extLst>
                </p:cNvPr>
                <p:cNvSpPr>
                  <a:spLocks/>
                </p:cNvSpPr>
                <p:nvPr/>
              </p:nvSpPr>
              <p:spPr bwMode="auto">
                <a:xfrm>
                  <a:off x="5618163" y="2874963"/>
                  <a:ext cx="957262" cy="1095375"/>
                </a:xfrm>
                <a:custGeom>
                  <a:avLst/>
                  <a:gdLst>
                    <a:gd name="connsiteX0" fmla="*/ 613473 w 957262"/>
                    <a:gd name="connsiteY0" fmla="*/ 558800 h 1095375"/>
                    <a:gd name="connsiteX1" fmla="*/ 584200 w 957262"/>
                    <a:gd name="connsiteY1" fmla="*/ 588775 h 1095375"/>
                    <a:gd name="connsiteX2" fmla="*/ 599194 w 957262"/>
                    <a:gd name="connsiteY2" fmla="*/ 614468 h 1095375"/>
                    <a:gd name="connsiteX3" fmla="*/ 599194 w 957262"/>
                    <a:gd name="connsiteY3" fmla="*/ 679414 h 1095375"/>
                    <a:gd name="connsiteX4" fmla="*/ 614901 w 957262"/>
                    <a:gd name="connsiteY4" fmla="*/ 695115 h 1095375"/>
                    <a:gd name="connsiteX5" fmla="*/ 822669 w 957262"/>
                    <a:gd name="connsiteY5" fmla="*/ 695115 h 1095375"/>
                    <a:gd name="connsiteX6" fmla="*/ 822669 w 957262"/>
                    <a:gd name="connsiteY6" fmla="*/ 750782 h 1095375"/>
                    <a:gd name="connsiteX7" fmla="*/ 808389 w 957262"/>
                    <a:gd name="connsiteY7" fmla="*/ 776475 h 1095375"/>
                    <a:gd name="connsiteX8" fmla="*/ 838376 w 957262"/>
                    <a:gd name="connsiteY8" fmla="*/ 806450 h 1095375"/>
                    <a:gd name="connsiteX9" fmla="*/ 868363 w 957262"/>
                    <a:gd name="connsiteY9" fmla="*/ 776475 h 1095375"/>
                    <a:gd name="connsiteX10" fmla="*/ 854084 w 957262"/>
                    <a:gd name="connsiteY10" fmla="*/ 750782 h 1095375"/>
                    <a:gd name="connsiteX11" fmla="*/ 854084 w 957262"/>
                    <a:gd name="connsiteY11" fmla="*/ 679414 h 1095375"/>
                    <a:gd name="connsiteX12" fmla="*/ 838376 w 957262"/>
                    <a:gd name="connsiteY12" fmla="*/ 663712 h 1095375"/>
                    <a:gd name="connsiteX13" fmla="*/ 630609 w 957262"/>
                    <a:gd name="connsiteY13" fmla="*/ 663712 h 1095375"/>
                    <a:gd name="connsiteX14" fmla="*/ 630609 w 957262"/>
                    <a:gd name="connsiteY14" fmla="*/ 613754 h 1095375"/>
                    <a:gd name="connsiteX15" fmla="*/ 643460 w 957262"/>
                    <a:gd name="connsiteY15" fmla="*/ 588775 h 1095375"/>
                    <a:gd name="connsiteX16" fmla="*/ 613473 w 957262"/>
                    <a:gd name="connsiteY16" fmla="*/ 558800 h 1095375"/>
                    <a:gd name="connsiteX17" fmla="*/ 117299 w 957262"/>
                    <a:gd name="connsiteY17" fmla="*/ 271462 h 1095375"/>
                    <a:gd name="connsiteX18" fmla="*/ 87312 w 957262"/>
                    <a:gd name="connsiteY18" fmla="*/ 301543 h 1095375"/>
                    <a:gd name="connsiteX19" fmla="*/ 101592 w 957262"/>
                    <a:gd name="connsiteY19" fmla="*/ 327326 h 1095375"/>
                    <a:gd name="connsiteX20" fmla="*/ 101592 w 957262"/>
                    <a:gd name="connsiteY20" fmla="*/ 399662 h 1095375"/>
                    <a:gd name="connsiteX21" fmla="*/ 117299 w 957262"/>
                    <a:gd name="connsiteY21" fmla="*/ 415419 h 1095375"/>
                    <a:gd name="connsiteX22" fmla="*/ 325067 w 957262"/>
                    <a:gd name="connsiteY22" fmla="*/ 415419 h 1095375"/>
                    <a:gd name="connsiteX23" fmla="*/ 325067 w 957262"/>
                    <a:gd name="connsiteY23" fmla="*/ 465553 h 1095375"/>
                    <a:gd name="connsiteX24" fmla="*/ 312215 w 957262"/>
                    <a:gd name="connsiteY24" fmla="*/ 490620 h 1095375"/>
                    <a:gd name="connsiteX25" fmla="*/ 342202 w 957262"/>
                    <a:gd name="connsiteY25" fmla="*/ 520700 h 1095375"/>
                    <a:gd name="connsiteX26" fmla="*/ 371475 w 957262"/>
                    <a:gd name="connsiteY26" fmla="*/ 490620 h 1095375"/>
                    <a:gd name="connsiteX27" fmla="*/ 356482 w 957262"/>
                    <a:gd name="connsiteY27" fmla="*/ 464120 h 1095375"/>
                    <a:gd name="connsiteX28" fmla="*/ 356482 w 957262"/>
                    <a:gd name="connsiteY28" fmla="*/ 399662 h 1095375"/>
                    <a:gd name="connsiteX29" fmla="*/ 340774 w 957262"/>
                    <a:gd name="connsiteY29" fmla="*/ 383906 h 1095375"/>
                    <a:gd name="connsiteX30" fmla="*/ 133007 w 957262"/>
                    <a:gd name="connsiteY30" fmla="*/ 383906 h 1095375"/>
                    <a:gd name="connsiteX31" fmla="*/ 133007 w 957262"/>
                    <a:gd name="connsiteY31" fmla="*/ 327326 h 1095375"/>
                    <a:gd name="connsiteX32" fmla="*/ 147286 w 957262"/>
                    <a:gd name="connsiteY32" fmla="*/ 301543 h 1095375"/>
                    <a:gd name="connsiteX33" fmla="*/ 117299 w 957262"/>
                    <a:gd name="connsiteY33" fmla="*/ 271462 h 1095375"/>
                    <a:gd name="connsiteX34" fmla="*/ 629060 w 957262"/>
                    <a:gd name="connsiteY34" fmla="*/ 0 h 1095375"/>
                    <a:gd name="connsiteX35" fmla="*/ 776680 w 957262"/>
                    <a:gd name="connsiteY35" fmla="*/ 154952 h 1095375"/>
                    <a:gd name="connsiteX36" fmla="*/ 775963 w 957262"/>
                    <a:gd name="connsiteY36" fmla="*/ 158522 h 1095375"/>
                    <a:gd name="connsiteX37" fmla="*/ 775963 w 957262"/>
                    <a:gd name="connsiteY37" fmla="*/ 272059 h 1095375"/>
                    <a:gd name="connsiteX38" fmla="*/ 685672 w 957262"/>
                    <a:gd name="connsiteY38" fmla="*/ 272059 h 1095375"/>
                    <a:gd name="connsiteX39" fmla="*/ 660591 w 957262"/>
                    <a:gd name="connsiteY39" fmla="*/ 257777 h 1095375"/>
                    <a:gd name="connsiteX40" fmla="*/ 630494 w 957262"/>
                    <a:gd name="connsiteY40" fmla="*/ 287768 h 1095375"/>
                    <a:gd name="connsiteX41" fmla="*/ 660591 w 957262"/>
                    <a:gd name="connsiteY41" fmla="*/ 317759 h 1095375"/>
                    <a:gd name="connsiteX42" fmla="*/ 685672 w 957262"/>
                    <a:gd name="connsiteY42" fmla="*/ 303478 h 1095375"/>
                    <a:gd name="connsiteX43" fmla="*/ 791728 w 957262"/>
                    <a:gd name="connsiteY43" fmla="*/ 303478 h 1095375"/>
                    <a:gd name="connsiteX44" fmla="*/ 807493 w 957262"/>
                    <a:gd name="connsiteY44" fmla="*/ 287768 h 1095375"/>
                    <a:gd name="connsiteX45" fmla="*/ 807493 w 957262"/>
                    <a:gd name="connsiteY45" fmla="*/ 172804 h 1095375"/>
                    <a:gd name="connsiteX46" fmla="*/ 952246 w 957262"/>
                    <a:gd name="connsiteY46" fmla="*/ 379882 h 1095375"/>
                    <a:gd name="connsiteX47" fmla="*/ 919999 w 957262"/>
                    <a:gd name="connsiteY47" fmla="*/ 496275 h 1095375"/>
                    <a:gd name="connsiteX48" fmla="*/ 856939 w 957262"/>
                    <a:gd name="connsiteY48" fmla="*/ 496275 h 1095375"/>
                    <a:gd name="connsiteX49" fmla="*/ 831141 w 957262"/>
                    <a:gd name="connsiteY49" fmla="*/ 481994 h 1095375"/>
                    <a:gd name="connsiteX50" fmla="*/ 801044 w 957262"/>
                    <a:gd name="connsiteY50" fmla="*/ 511984 h 1095375"/>
                    <a:gd name="connsiteX51" fmla="*/ 831141 w 957262"/>
                    <a:gd name="connsiteY51" fmla="*/ 541975 h 1095375"/>
                    <a:gd name="connsiteX52" fmla="*/ 856939 w 957262"/>
                    <a:gd name="connsiteY52" fmla="*/ 527694 h 1095375"/>
                    <a:gd name="connsiteX53" fmla="*/ 919283 w 957262"/>
                    <a:gd name="connsiteY53" fmla="*/ 527694 h 1095375"/>
                    <a:gd name="connsiteX54" fmla="*/ 957262 w 957262"/>
                    <a:gd name="connsiteY54" fmla="*/ 662652 h 1095375"/>
                    <a:gd name="connsiteX55" fmla="*/ 789578 w 957262"/>
                    <a:gd name="connsiteY55" fmla="*/ 899007 h 1095375"/>
                    <a:gd name="connsiteX56" fmla="*/ 583198 w 957262"/>
                    <a:gd name="connsiteY56" fmla="*/ 1095375 h 1095375"/>
                    <a:gd name="connsiteX57" fmla="*/ 522287 w 957262"/>
                    <a:gd name="connsiteY57" fmla="*/ 1026825 h 1095375"/>
                    <a:gd name="connsiteX58" fmla="*/ 522287 w 957262"/>
                    <a:gd name="connsiteY58" fmla="*/ 896865 h 1095375"/>
                    <a:gd name="connsiteX59" fmla="*/ 593947 w 957262"/>
                    <a:gd name="connsiteY59" fmla="*/ 896865 h 1095375"/>
                    <a:gd name="connsiteX60" fmla="*/ 593947 w 957262"/>
                    <a:gd name="connsiteY60" fmla="*/ 958989 h 1095375"/>
                    <a:gd name="connsiteX61" fmla="*/ 579615 w 957262"/>
                    <a:gd name="connsiteY61" fmla="*/ 983981 h 1095375"/>
                    <a:gd name="connsiteX62" fmla="*/ 609712 w 957262"/>
                    <a:gd name="connsiteY62" fmla="*/ 1013972 h 1095375"/>
                    <a:gd name="connsiteX63" fmla="*/ 639809 w 957262"/>
                    <a:gd name="connsiteY63" fmla="*/ 983981 h 1095375"/>
                    <a:gd name="connsiteX64" fmla="*/ 625477 w 957262"/>
                    <a:gd name="connsiteY64" fmla="*/ 958989 h 1095375"/>
                    <a:gd name="connsiteX65" fmla="*/ 625477 w 957262"/>
                    <a:gd name="connsiteY65" fmla="*/ 896865 h 1095375"/>
                    <a:gd name="connsiteX66" fmla="*/ 690688 w 957262"/>
                    <a:gd name="connsiteY66" fmla="*/ 896865 h 1095375"/>
                    <a:gd name="connsiteX67" fmla="*/ 706453 w 957262"/>
                    <a:gd name="connsiteY67" fmla="*/ 881156 h 1095375"/>
                    <a:gd name="connsiteX68" fmla="*/ 706453 w 957262"/>
                    <a:gd name="connsiteY68" fmla="*/ 814748 h 1095375"/>
                    <a:gd name="connsiteX69" fmla="*/ 720785 w 957262"/>
                    <a:gd name="connsiteY69" fmla="*/ 789756 h 1095375"/>
                    <a:gd name="connsiteX70" fmla="*/ 690688 w 957262"/>
                    <a:gd name="connsiteY70" fmla="*/ 759765 h 1095375"/>
                    <a:gd name="connsiteX71" fmla="*/ 660591 w 957262"/>
                    <a:gd name="connsiteY71" fmla="*/ 789756 h 1095375"/>
                    <a:gd name="connsiteX72" fmla="*/ 674923 w 957262"/>
                    <a:gd name="connsiteY72" fmla="*/ 814748 h 1095375"/>
                    <a:gd name="connsiteX73" fmla="*/ 674923 w 957262"/>
                    <a:gd name="connsiteY73" fmla="*/ 865446 h 1095375"/>
                    <a:gd name="connsiteX74" fmla="*/ 612579 w 957262"/>
                    <a:gd name="connsiteY74" fmla="*/ 865446 h 1095375"/>
                    <a:gd name="connsiteX75" fmla="*/ 609712 w 957262"/>
                    <a:gd name="connsiteY75" fmla="*/ 864732 h 1095375"/>
                    <a:gd name="connsiteX76" fmla="*/ 570299 w 957262"/>
                    <a:gd name="connsiteY76" fmla="*/ 864732 h 1095375"/>
                    <a:gd name="connsiteX77" fmla="*/ 567433 w 957262"/>
                    <a:gd name="connsiteY77" fmla="*/ 865446 h 1095375"/>
                    <a:gd name="connsiteX78" fmla="*/ 522287 w 957262"/>
                    <a:gd name="connsiteY78" fmla="*/ 865446 h 1095375"/>
                    <a:gd name="connsiteX79" fmla="*/ 522287 w 957262"/>
                    <a:gd name="connsiteY79" fmla="*/ 513413 h 1095375"/>
                    <a:gd name="connsiteX80" fmla="*/ 712902 w 957262"/>
                    <a:gd name="connsiteY80" fmla="*/ 513413 h 1095375"/>
                    <a:gd name="connsiteX81" fmla="*/ 728667 w 957262"/>
                    <a:gd name="connsiteY81" fmla="*/ 497703 h 1095375"/>
                    <a:gd name="connsiteX82" fmla="*/ 728667 w 957262"/>
                    <a:gd name="connsiteY82" fmla="*/ 410587 h 1095375"/>
                    <a:gd name="connsiteX83" fmla="*/ 848339 w 957262"/>
                    <a:gd name="connsiteY83" fmla="*/ 410587 h 1095375"/>
                    <a:gd name="connsiteX84" fmla="*/ 873420 w 957262"/>
                    <a:gd name="connsiteY84" fmla="*/ 424869 h 1095375"/>
                    <a:gd name="connsiteX85" fmla="*/ 903517 w 957262"/>
                    <a:gd name="connsiteY85" fmla="*/ 394878 h 1095375"/>
                    <a:gd name="connsiteX86" fmla="*/ 873420 w 957262"/>
                    <a:gd name="connsiteY86" fmla="*/ 364887 h 1095375"/>
                    <a:gd name="connsiteX87" fmla="*/ 848339 w 957262"/>
                    <a:gd name="connsiteY87" fmla="*/ 379168 h 1095375"/>
                    <a:gd name="connsiteX88" fmla="*/ 712902 w 957262"/>
                    <a:gd name="connsiteY88" fmla="*/ 379168 h 1095375"/>
                    <a:gd name="connsiteX89" fmla="*/ 697137 w 957262"/>
                    <a:gd name="connsiteY89" fmla="*/ 394878 h 1095375"/>
                    <a:gd name="connsiteX90" fmla="*/ 697137 w 957262"/>
                    <a:gd name="connsiteY90" fmla="*/ 481994 h 1095375"/>
                    <a:gd name="connsiteX91" fmla="*/ 522287 w 957262"/>
                    <a:gd name="connsiteY91" fmla="*/ 481994 h 1095375"/>
                    <a:gd name="connsiteX92" fmla="*/ 522287 w 957262"/>
                    <a:gd name="connsiteY92" fmla="*/ 207079 h 1095375"/>
                    <a:gd name="connsiteX93" fmla="*/ 611862 w 957262"/>
                    <a:gd name="connsiteY93" fmla="*/ 207079 h 1095375"/>
                    <a:gd name="connsiteX94" fmla="*/ 627627 w 957262"/>
                    <a:gd name="connsiteY94" fmla="*/ 191369 h 1095375"/>
                    <a:gd name="connsiteX95" fmla="*/ 627627 w 957262"/>
                    <a:gd name="connsiteY95" fmla="*/ 119249 h 1095375"/>
                    <a:gd name="connsiteX96" fmla="*/ 641959 w 957262"/>
                    <a:gd name="connsiteY96" fmla="*/ 93543 h 1095375"/>
                    <a:gd name="connsiteX97" fmla="*/ 611862 w 957262"/>
                    <a:gd name="connsiteY97" fmla="*/ 63552 h 1095375"/>
                    <a:gd name="connsiteX98" fmla="*/ 581765 w 957262"/>
                    <a:gd name="connsiteY98" fmla="*/ 93543 h 1095375"/>
                    <a:gd name="connsiteX99" fmla="*/ 596097 w 957262"/>
                    <a:gd name="connsiteY99" fmla="*/ 119249 h 1095375"/>
                    <a:gd name="connsiteX100" fmla="*/ 596097 w 957262"/>
                    <a:gd name="connsiteY100" fmla="*/ 175660 h 1095375"/>
                    <a:gd name="connsiteX101" fmla="*/ 522287 w 957262"/>
                    <a:gd name="connsiteY101" fmla="*/ 175660 h 1095375"/>
                    <a:gd name="connsiteX102" fmla="*/ 522287 w 957262"/>
                    <a:gd name="connsiteY102" fmla="*/ 49271 h 1095375"/>
                    <a:gd name="connsiteX103" fmla="*/ 629060 w 957262"/>
                    <a:gd name="connsiteY103" fmla="*/ 0 h 1095375"/>
                    <a:gd name="connsiteX104" fmla="*/ 327005 w 957262"/>
                    <a:gd name="connsiteY104" fmla="*/ 0 h 1095375"/>
                    <a:gd name="connsiteX105" fmla="*/ 433388 w 957262"/>
                    <a:gd name="connsiteY105" fmla="*/ 49271 h 1095375"/>
                    <a:gd name="connsiteX106" fmla="*/ 433388 w 957262"/>
                    <a:gd name="connsiteY106" fmla="*/ 181373 h 1095375"/>
                    <a:gd name="connsiteX107" fmla="*/ 361990 w 957262"/>
                    <a:gd name="connsiteY107" fmla="*/ 181373 h 1095375"/>
                    <a:gd name="connsiteX108" fmla="*/ 361990 w 957262"/>
                    <a:gd name="connsiteY108" fmla="*/ 119249 h 1095375"/>
                    <a:gd name="connsiteX109" fmla="*/ 376270 w 957262"/>
                    <a:gd name="connsiteY109" fmla="*/ 93543 h 1095375"/>
                    <a:gd name="connsiteX110" fmla="*/ 346282 w 957262"/>
                    <a:gd name="connsiteY110" fmla="*/ 63552 h 1095375"/>
                    <a:gd name="connsiteX111" fmla="*/ 316295 w 957262"/>
                    <a:gd name="connsiteY111" fmla="*/ 93543 h 1095375"/>
                    <a:gd name="connsiteX112" fmla="*/ 330575 w 957262"/>
                    <a:gd name="connsiteY112" fmla="*/ 119249 h 1095375"/>
                    <a:gd name="connsiteX113" fmla="*/ 330575 w 957262"/>
                    <a:gd name="connsiteY113" fmla="*/ 181373 h 1095375"/>
                    <a:gd name="connsiteX114" fmla="*/ 265602 w 957262"/>
                    <a:gd name="connsiteY114" fmla="*/ 181373 h 1095375"/>
                    <a:gd name="connsiteX115" fmla="*/ 249894 w 957262"/>
                    <a:gd name="connsiteY115" fmla="*/ 197082 h 1095375"/>
                    <a:gd name="connsiteX116" fmla="*/ 249894 w 957262"/>
                    <a:gd name="connsiteY116" fmla="*/ 262776 h 1095375"/>
                    <a:gd name="connsiteX117" fmla="*/ 235615 w 957262"/>
                    <a:gd name="connsiteY117" fmla="*/ 288482 h 1095375"/>
                    <a:gd name="connsiteX118" fmla="*/ 265602 w 957262"/>
                    <a:gd name="connsiteY118" fmla="*/ 318473 h 1095375"/>
                    <a:gd name="connsiteX119" fmla="*/ 295589 w 957262"/>
                    <a:gd name="connsiteY119" fmla="*/ 288482 h 1095375"/>
                    <a:gd name="connsiteX120" fmla="*/ 281310 w 957262"/>
                    <a:gd name="connsiteY120" fmla="*/ 262776 h 1095375"/>
                    <a:gd name="connsiteX121" fmla="*/ 281310 w 957262"/>
                    <a:gd name="connsiteY121" fmla="*/ 212791 h 1095375"/>
                    <a:gd name="connsiteX122" fmla="*/ 343426 w 957262"/>
                    <a:gd name="connsiteY122" fmla="*/ 212791 h 1095375"/>
                    <a:gd name="connsiteX123" fmla="*/ 346282 w 957262"/>
                    <a:gd name="connsiteY123" fmla="*/ 212791 h 1095375"/>
                    <a:gd name="connsiteX124" fmla="*/ 385551 w 957262"/>
                    <a:gd name="connsiteY124" fmla="*/ 212791 h 1095375"/>
                    <a:gd name="connsiteX125" fmla="*/ 388407 w 957262"/>
                    <a:gd name="connsiteY125" fmla="*/ 212791 h 1095375"/>
                    <a:gd name="connsiteX126" fmla="*/ 433388 w 957262"/>
                    <a:gd name="connsiteY126" fmla="*/ 212791 h 1095375"/>
                    <a:gd name="connsiteX127" fmla="*/ 433388 w 957262"/>
                    <a:gd name="connsiteY127" fmla="*/ 564825 h 1095375"/>
                    <a:gd name="connsiteX128" fmla="*/ 243469 w 957262"/>
                    <a:gd name="connsiteY128" fmla="*/ 564825 h 1095375"/>
                    <a:gd name="connsiteX129" fmla="*/ 227761 w 957262"/>
                    <a:gd name="connsiteY129" fmla="*/ 580535 h 1095375"/>
                    <a:gd name="connsiteX130" fmla="*/ 227761 w 957262"/>
                    <a:gd name="connsiteY130" fmla="*/ 667650 h 1095375"/>
                    <a:gd name="connsiteX131" fmla="*/ 108526 w 957262"/>
                    <a:gd name="connsiteY131" fmla="*/ 667650 h 1095375"/>
                    <a:gd name="connsiteX132" fmla="*/ 83536 w 957262"/>
                    <a:gd name="connsiteY132" fmla="*/ 653369 h 1095375"/>
                    <a:gd name="connsiteX133" fmla="*/ 53549 w 957262"/>
                    <a:gd name="connsiteY133" fmla="*/ 683360 h 1095375"/>
                    <a:gd name="connsiteX134" fmla="*/ 83536 w 957262"/>
                    <a:gd name="connsiteY134" fmla="*/ 712637 h 1095375"/>
                    <a:gd name="connsiteX135" fmla="*/ 108526 w 957262"/>
                    <a:gd name="connsiteY135" fmla="*/ 699069 h 1095375"/>
                    <a:gd name="connsiteX136" fmla="*/ 243469 w 957262"/>
                    <a:gd name="connsiteY136" fmla="*/ 699069 h 1095375"/>
                    <a:gd name="connsiteX137" fmla="*/ 259176 w 957262"/>
                    <a:gd name="connsiteY137" fmla="*/ 683360 h 1095375"/>
                    <a:gd name="connsiteX138" fmla="*/ 259176 w 957262"/>
                    <a:gd name="connsiteY138" fmla="*/ 596244 h 1095375"/>
                    <a:gd name="connsiteX139" fmla="*/ 433388 w 957262"/>
                    <a:gd name="connsiteY139" fmla="*/ 596244 h 1095375"/>
                    <a:gd name="connsiteX140" fmla="*/ 433388 w 957262"/>
                    <a:gd name="connsiteY140" fmla="*/ 871159 h 1095375"/>
                    <a:gd name="connsiteX141" fmla="*/ 344140 w 957262"/>
                    <a:gd name="connsiteY141" fmla="*/ 871159 h 1095375"/>
                    <a:gd name="connsiteX142" fmla="*/ 328433 w 957262"/>
                    <a:gd name="connsiteY142" fmla="*/ 886868 h 1095375"/>
                    <a:gd name="connsiteX143" fmla="*/ 328433 w 957262"/>
                    <a:gd name="connsiteY143" fmla="*/ 958989 h 1095375"/>
                    <a:gd name="connsiteX144" fmla="*/ 314153 w 957262"/>
                    <a:gd name="connsiteY144" fmla="*/ 983981 h 1095375"/>
                    <a:gd name="connsiteX145" fmla="*/ 344140 w 957262"/>
                    <a:gd name="connsiteY145" fmla="*/ 1013972 h 1095375"/>
                    <a:gd name="connsiteX146" fmla="*/ 374128 w 957262"/>
                    <a:gd name="connsiteY146" fmla="*/ 983981 h 1095375"/>
                    <a:gd name="connsiteX147" fmla="*/ 359848 w 957262"/>
                    <a:gd name="connsiteY147" fmla="*/ 958989 h 1095375"/>
                    <a:gd name="connsiteX148" fmla="*/ 359848 w 957262"/>
                    <a:gd name="connsiteY148" fmla="*/ 902578 h 1095375"/>
                    <a:gd name="connsiteX149" fmla="*/ 433388 w 957262"/>
                    <a:gd name="connsiteY149" fmla="*/ 902578 h 1095375"/>
                    <a:gd name="connsiteX150" fmla="*/ 433388 w 957262"/>
                    <a:gd name="connsiteY150" fmla="*/ 1026825 h 1095375"/>
                    <a:gd name="connsiteX151" fmla="*/ 372700 w 957262"/>
                    <a:gd name="connsiteY151" fmla="*/ 1095375 h 1095375"/>
                    <a:gd name="connsiteX152" fmla="*/ 179210 w 957262"/>
                    <a:gd name="connsiteY152" fmla="*/ 947564 h 1095375"/>
                    <a:gd name="connsiteX153" fmla="*/ 179210 w 957262"/>
                    <a:gd name="connsiteY153" fmla="*/ 945422 h 1095375"/>
                    <a:gd name="connsiteX154" fmla="*/ 179210 w 957262"/>
                    <a:gd name="connsiteY154" fmla="*/ 805465 h 1095375"/>
                    <a:gd name="connsiteX155" fmla="*/ 269172 w 957262"/>
                    <a:gd name="connsiteY155" fmla="*/ 805465 h 1095375"/>
                    <a:gd name="connsiteX156" fmla="*/ 294875 w 957262"/>
                    <a:gd name="connsiteY156" fmla="*/ 819746 h 1095375"/>
                    <a:gd name="connsiteX157" fmla="*/ 324863 w 957262"/>
                    <a:gd name="connsiteY157" fmla="*/ 789756 h 1095375"/>
                    <a:gd name="connsiteX158" fmla="*/ 294875 w 957262"/>
                    <a:gd name="connsiteY158" fmla="*/ 759765 h 1095375"/>
                    <a:gd name="connsiteX159" fmla="*/ 269172 w 957262"/>
                    <a:gd name="connsiteY159" fmla="*/ 774046 h 1095375"/>
                    <a:gd name="connsiteX160" fmla="*/ 163502 w 957262"/>
                    <a:gd name="connsiteY160" fmla="*/ 774046 h 1095375"/>
                    <a:gd name="connsiteX161" fmla="*/ 147795 w 957262"/>
                    <a:gd name="connsiteY161" fmla="*/ 789756 h 1095375"/>
                    <a:gd name="connsiteX162" fmla="*/ 147795 w 957262"/>
                    <a:gd name="connsiteY162" fmla="*/ 892581 h 1095375"/>
                    <a:gd name="connsiteX163" fmla="*/ 0 w 957262"/>
                    <a:gd name="connsiteY163" fmla="*/ 662652 h 1095375"/>
                    <a:gd name="connsiteX164" fmla="*/ 37127 w 957262"/>
                    <a:gd name="connsiteY164" fmla="*/ 528408 h 1095375"/>
                    <a:gd name="connsiteX165" fmla="*/ 99958 w 957262"/>
                    <a:gd name="connsiteY165" fmla="*/ 528408 h 1095375"/>
                    <a:gd name="connsiteX166" fmla="*/ 125661 w 957262"/>
                    <a:gd name="connsiteY166" fmla="*/ 542689 h 1095375"/>
                    <a:gd name="connsiteX167" fmla="*/ 155649 w 957262"/>
                    <a:gd name="connsiteY167" fmla="*/ 512698 h 1095375"/>
                    <a:gd name="connsiteX168" fmla="*/ 125661 w 957262"/>
                    <a:gd name="connsiteY168" fmla="*/ 482708 h 1095375"/>
                    <a:gd name="connsiteX169" fmla="*/ 99958 w 957262"/>
                    <a:gd name="connsiteY169" fmla="*/ 496989 h 1095375"/>
                    <a:gd name="connsiteX170" fmla="*/ 37841 w 957262"/>
                    <a:gd name="connsiteY170" fmla="*/ 496989 h 1095375"/>
                    <a:gd name="connsiteX171" fmla="*/ 4998 w 957262"/>
                    <a:gd name="connsiteY171" fmla="*/ 379882 h 1095375"/>
                    <a:gd name="connsiteX172" fmla="*/ 180638 w 957262"/>
                    <a:gd name="connsiteY172" fmla="*/ 165663 h 1095375"/>
                    <a:gd name="connsiteX173" fmla="*/ 179924 w 957262"/>
                    <a:gd name="connsiteY173" fmla="*/ 156380 h 1095375"/>
                    <a:gd name="connsiteX174" fmla="*/ 327005 w 957262"/>
                    <a:gd name="connsiteY174"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957262" h="1095375">
                      <a:moveTo>
                        <a:pt x="613473" y="558800"/>
                      </a:moveTo>
                      <a:cubicBezTo>
                        <a:pt x="597052" y="558800"/>
                        <a:pt x="584200" y="572360"/>
                        <a:pt x="584200" y="588775"/>
                      </a:cubicBezTo>
                      <a:cubicBezTo>
                        <a:pt x="584200" y="600194"/>
                        <a:pt x="589912" y="609472"/>
                        <a:pt x="599194" y="614468"/>
                      </a:cubicBezTo>
                      <a:cubicBezTo>
                        <a:pt x="599194" y="614468"/>
                        <a:pt x="599194" y="614468"/>
                        <a:pt x="599194" y="679414"/>
                      </a:cubicBezTo>
                      <a:cubicBezTo>
                        <a:pt x="599194" y="687978"/>
                        <a:pt x="606334" y="695115"/>
                        <a:pt x="614901" y="695115"/>
                      </a:cubicBezTo>
                      <a:cubicBezTo>
                        <a:pt x="614901" y="695115"/>
                        <a:pt x="614901" y="695115"/>
                        <a:pt x="822669" y="695115"/>
                      </a:cubicBezTo>
                      <a:cubicBezTo>
                        <a:pt x="822669" y="695115"/>
                        <a:pt x="822669" y="695115"/>
                        <a:pt x="822669" y="750782"/>
                      </a:cubicBezTo>
                      <a:cubicBezTo>
                        <a:pt x="814101" y="756492"/>
                        <a:pt x="808389" y="765770"/>
                        <a:pt x="808389" y="776475"/>
                      </a:cubicBezTo>
                      <a:cubicBezTo>
                        <a:pt x="808389" y="792890"/>
                        <a:pt x="821955" y="806450"/>
                        <a:pt x="838376" y="806450"/>
                      </a:cubicBezTo>
                      <a:cubicBezTo>
                        <a:pt x="854798" y="806450"/>
                        <a:pt x="868363" y="792890"/>
                        <a:pt x="868363" y="776475"/>
                      </a:cubicBezTo>
                      <a:cubicBezTo>
                        <a:pt x="868363" y="765770"/>
                        <a:pt x="862651" y="756492"/>
                        <a:pt x="854084" y="750782"/>
                      </a:cubicBezTo>
                      <a:cubicBezTo>
                        <a:pt x="854084" y="750782"/>
                        <a:pt x="854084" y="750782"/>
                        <a:pt x="854084" y="679414"/>
                      </a:cubicBezTo>
                      <a:cubicBezTo>
                        <a:pt x="854084" y="670849"/>
                        <a:pt x="846944" y="663712"/>
                        <a:pt x="838376" y="663712"/>
                      </a:cubicBezTo>
                      <a:cubicBezTo>
                        <a:pt x="838376" y="663712"/>
                        <a:pt x="838376" y="663712"/>
                        <a:pt x="630609" y="663712"/>
                      </a:cubicBezTo>
                      <a:cubicBezTo>
                        <a:pt x="630609" y="663712"/>
                        <a:pt x="630609" y="663712"/>
                        <a:pt x="630609" y="613754"/>
                      </a:cubicBezTo>
                      <a:cubicBezTo>
                        <a:pt x="638463" y="608045"/>
                        <a:pt x="643460" y="598767"/>
                        <a:pt x="643460" y="588775"/>
                      </a:cubicBezTo>
                      <a:cubicBezTo>
                        <a:pt x="643460" y="572360"/>
                        <a:pt x="630609" y="558800"/>
                        <a:pt x="613473" y="558800"/>
                      </a:cubicBezTo>
                      <a:close/>
                      <a:moveTo>
                        <a:pt x="117299" y="271462"/>
                      </a:moveTo>
                      <a:cubicBezTo>
                        <a:pt x="100878" y="271462"/>
                        <a:pt x="87312" y="285070"/>
                        <a:pt x="87312" y="301543"/>
                      </a:cubicBezTo>
                      <a:cubicBezTo>
                        <a:pt x="87312" y="312286"/>
                        <a:pt x="93024" y="322312"/>
                        <a:pt x="101592" y="327326"/>
                      </a:cubicBezTo>
                      <a:cubicBezTo>
                        <a:pt x="101592" y="327326"/>
                        <a:pt x="101592" y="327326"/>
                        <a:pt x="101592" y="399662"/>
                      </a:cubicBezTo>
                      <a:cubicBezTo>
                        <a:pt x="101592" y="408257"/>
                        <a:pt x="108732" y="415419"/>
                        <a:pt x="117299" y="415419"/>
                      </a:cubicBezTo>
                      <a:cubicBezTo>
                        <a:pt x="117299" y="415419"/>
                        <a:pt x="117299" y="415419"/>
                        <a:pt x="325067" y="415419"/>
                      </a:cubicBezTo>
                      <a:cubicBezTo>
                        <a:pt x="325067" y="415419"/>
                        <a:pt x="325067" y="415419"/>
                        <a:pt x="325067" y="465553"/>
                      </a:cubicBezTo>
                      <a:cubicBezTo>
                        <a:pt x="317213" y="470566"/>
                        <a:pt x="312215" y="479877"/>
                        <a:pt x="312215" y="490620"/>
                      </a:cubicBezTo>
                      <a:cubicBezTo>
                        <a:pt x="312215" y="507092"/>
                        <a:pt x="325067" y="520700"/>
                        <a:pt x="342202" y="520700"/>
                      </a:cubicBezTo>
                      <a:cubicBezTo>
                        <a:pt x="358624" y="520700"/>
                        <a:pt x="371475" y="507092"/>
                        <a:pt x="371475" y="490620"/>
                      </a:cubicBezTo>
                      <a:cubicBezTo>
                        <a:pt x="371475" y="479160"/>
                        <a:pt x="365763" y="469134"/>
                        <a:pt x="356482" y="464120"/>
                      </a:cubicBezTo>
                      <a:cubicBezTo>
                        <a:pt x="356482" y="464120"/>
                        <a:pt x="356482" y="464120"/>
                        <a:pt x="356482" y="399662"/>
                      </a:cubicBezTo>
                      <a:cubicBezTo>
                        <a:pt x="356482" y="391068"/>
                        <a:pt x="349342" y="383906"/>
                        <a:pt x="340774" y="383906"/>
                      </a:cubicBezTo>
                      <a:lnTo>
                        <a:pt x="133007" y="383906"/>
                      </a:lnTo>
                      <a:cubicBezTo>
                        <a:pt x="133007" y="383906"/>
                        <a:pt x="133007" y="383906"/>
                        <a:pt x="133007" y="327326"/>
                      </a:cubicBezTo>
                      <a:cubicBezTo>
                        <a:pt x="141575" y="322312"/>
                        <a:pt x="147286" y="312286"/>
                        <a:pt x="147286" y="301543"/>
                      </a:cubicBezTo>
                      <a:cubicBezTo>
                        <a:pt x="147286" y="285070"/>
                        <a:pt x="133721" y="271462"/>
                        <a:pt x="117299" y="271462"/>
                      </a:cubicBezTo>
                      <a:close/>
                      <a:moveTo>
                        <a:pt x="629060" y="0"/>
                      </a:moveTo>
                      <a:cubicBezTo>
                        <a:pt x="710036" y="0"/>
                        <a:pt x="775963" y="69264"/>
                        <a:pt x="776680" y="154952"/>
                      </a:cubicBezTo>
                      <a:cubicBezTo>
                        <a:pt x="775963" y="156380"/>
                        <a:pt x="775963" y="157094"/>
                        <a:pt x="775963" y="158522"/>
                      </a:cubicBezTo>
                      <a:cubicBezTo>
                        <a:pt x="775963" y="158522"/>
                        <a:pt x="775963" y="158522"/>
                        <a:pt x="775963" y="272059"/>
                      </a:cubicBezTo>
                      <a:cubicBezTo>
                        <a:pt x="775963" y="272059"/>
                        <a:pt x="775963" y="272059"/>
                        <a:pt x="685672" y="272059"/>
                      </a:cubicBezTo>
                      <a:cubicBezTo>
                        <a:pt x="680655" y="263490"/>
                        <a:pt x="671340" y="257777"/>
                        <a:pt x="660591" y="257777"/>
                      </a:cubicBezTo>
                      <a:cubicBezTo>
                        <a:pt x="644109" y="257777"/>
                        <a:pt x="630494" y="271345"/>
                        <a:pt x="630494" y="287768"/>
                      </a:cubicBezTo>
                      <a:cubicBezTo>
                        <a:pt x="630494" y="304906"/>
                        <a:pt x="644109" y="317759"/>
                        <a:pt x="660591" y="317759"/>
                      </a:cubicBezTo>
                      <a:cubicBezTo>
                        <a:pt x="671340" y="317759"/>
                        <a:pt x="680655" y="312046"/>
                        <a:pt x="685672" y="303478"/>
                      </a:cubicBezTo>
                      <a:cubicBezTo>
                        <a:pt x="685672" y="303478"/>
                        <a:pt x="685672" y="303478"/>
                        <a:pt x="791728" y="303478"/>
                      </a:cubicBezTo>
                      <a:cubicBezTo>
                        <a:pt x="800327" y="303478"/>
                        <a:pt x="807493" y="297051"/>
                        <a:pt x="807493" y="287768"/>
                      </a:cubicBezTo>
                      <a:cubicBezTo>
                        <a:pt x="807493" y="287768"/>
                        <a:pt x="807493" y="287768"/>
                        <a:pt x="807493" y="172804"/>
                      </a:cubicBezTo>
                      <a:cubicBezTo>
                        <a:pt x="891335" y="199938"/>
                        <a:pt x="952246" y="282770"/>
                        <a:pt x="952246" y="379882"/>
                      </a:cubicBezTo>
                      <a:cubicBezTo>
                        <a:pt x="952246" y="422726"/>
                        <a:pt x="940064" y="462714"/>
                        <a:pt x="919999" y="496275"/>
                      </a:cubicBezTo>
                      <a:cubicBezTo>
                        <a:pt x="919999" y="496275"/>
                        <a:pt x="919999" y="496275"/>
                        <a:pt x="856939" y="496275"/>
                      </a:cubicBezTo>
                      <a:cubicBezTo>
                        <a:pt x="851922" y="487706"/>
                        <a:pt x="841890" y="481994"/>
                        <a:pt x="831141" y="481994"/>
                      </a:cubicBezTo>
                      <a:cubicBezTo>
                        <a:pt x="814659" y="481994"/>
                        <a:pt x="801044" y="494847"/>
                        <a:pt x="801044" y="511984"/>
                      </a:cubicBezTo>
                      <a:cubicBezTo>
                        <a:pt x="801044" y="528408"/>
                        <a:pt x="814659" y="541975"/>
                        <a:pt x="831141" y="541975"/>
                      </a:cubicBezTo>
                      <a:cubicBezTo>
                        <a:pt x="841890" y="541975"/>
                        <a:pt x="851922" y="536263"/>
                        <a:pt x="856939" y="527694"/>
                      </a:cubicBezTo>
                      <a:cubicBezTo>
                        <a:pt x="856939" y="527694"/>
                        <a:pt x="856939" y="527694"/>
                        <a:pt x="919283" y="527694"/>
                      </a:cubicBezTo>
                      <a:cubicBezTo>
                        <a:pt x="943647" y="566253"/>
                        <a:pt x="957262" y="612668"/>
                        <a:pt x="957262" y="662652"/>
                      </a:cubicBezTo>
                      <a:cubicBezTo>
                        <a:pt x="957262" y="774760"/>
                        <a:pt x="886319" y="869731"/>
                        <a:pt x="789578" y="899007"/>
                      </a:cubicBezTo>
                      <a:cubicBezTo>
                        <a:pt x="783846" y="989694"/>
                        <a:pt x="669906" y="1095375"/>
                        <a:pt x="583198" y="1095375"/>
                      </a:cubicBezTo>
                      <a:cubicBezTo>
                        <a:pt x="543785" y="1095375"/>
                        <a:pt x="522287" y="1063242"/>
                        <a:pt x="522287" y="1026825"/>
                      </a:cubicBezTo>
                      <a:cubicBezTo>
                        <a:pt x="522287" y="1026825"/>
                        <a:pt x="522287" y="1026825"/>
                        <a:pt x="522287" y="896865"/>
                      </a:cubicBezTo>
                      <a:cubicBezTo>
                        <a:pt x="522287" y="896865"/>
                        <a:pt x="522287" y="896865"/>
                        <a:pt x="593947" y="896865"/>
                      </a:cubicBezTo>
                      <a:cubicBezTo>
                        <a:pt x="593947" y="896865"/>
                        <a:pt x="593947" y="896865"/>
                        <a:pt x="593947" y="958989"/>
                      </a:cubicBezTo>
                      <a:cubicBezTo>
                        <a:pt x="585348" y="963987"/>
                        <a:pt x="579615" y="973270"/>
                        <a:pt x="579615" y="983981"/>
                      </a:cubicBezTo>
                      <a:cubicBezTo>
                        <a:pt x="579615" y="1000405"/>
                        <a:pt x="592514" y="1013972"/>
                        <a:pt x="609712" y="1013972"/>
                      </a:cubicBezTo>
                      <a:cubicBezTo>
                        <a:pt x="626194" y="1013972"/>
                        <a:pt x="639809" y="1000405"/>
                        <a:pt x="639809" y="983981"/>
                      </a:cubicBezTo>
                      <a:cubicBezTo>
                        <a:pt x="639809" y="973270"/>
                        <a:pt x="634077" y="963987"/>
                        <a:pt x="625477" y="958989"/>
                      </a:cubicBezTo>
                      <a:cubicBezTo>
                        <a:pt x="625477" y="958989"/>
                        <a:pt x="625477" y="958989"/>
                        <a:pt x="625477" y="896865"/>
                      </a:cubicBezTo>
                      <a:cubicBezTo>
                        <a:pt x="625477" y="896865"/>
                        <a:pt x="625477" y="896865"/>
                        <a:pt x="690688" y="896865"/>
                      </a:cubicBezTo>
                      <a:cubicBezTo>
                        <a:pt x="699287" y="896865"/>
                        <a:pt x="706453" y="889725"/>
                        <a:pt x="706453" y="881156"/>
                      </a:cubicBezTo>
                      <a:cubicBezTo>
                        <a:pt x="706453" y="881156"/>
                        <a:pt x="706453" y="881156"/>
                        <a:pt x="706453" y="814748"/>
                      </a:cubicBezTo>
                      <a:cubicBezTo>
                        <a:pt x="715052" y="809749"/>
                        <a:pt x="720785" y="800467"/>
                        <a:pt x="720785" y="789756"/>
                      </a:cubicBezTo>
                      <a:cubicBezTo>
                        <a:pt x="720785" y="773332"/>
                        <a:pt x="707170" y="759765"/>
                        <a:pt x="690688" y="759765"/>
                      </a:cubicBezTo>
                      <a:cubicBezTo>
                        <a:pt x="674206" y="759765"/>
                        <a:pt x="660591" y="773332"/>
                        <a:pt x="660591" y="789756"/>
                      </a:cubicBezTo>
                      <a:cubicBezTo>
                        <a:pt x="660591" y="800467"/>
                        <a:pt x="666323" y="809749"/>
                        <a:pt x="674923" y="814748"/>
                      </a:cubicBezTo>
                      <a:cubicBezTo>
                        <a:pt x="674923" y="814748"/>
                        <a:pt x="674923" y="814748"/>
                        <a:pt x="674923" y="865446"/>
                      </a:cubicBezTo>
                      <a:cubicBezTo>
                        <a:pt x="674923" y="865446"/>
                        <a:pt x="674923" y="865446"/>
                        <a:pt x="612579" y="865446"/>
                      </a:cubicBezTo>
                      <a:cubicBezTo>
                        <a:pt x="611145" y="865446"/>
                        <a:pt x="610429" y="864732"/>
                        <a:pt x="609712" y="864732"/>
                      </a:cubicBezTo>
                      <a:cubicBezTo>
                        <a:pt x="609712" y="864732"/>
                        <a:pt x="609712" y="864732"/>
                        <a:pt x="570299" y="864732"/>
                      </a:cubicBezTo>
                      <a:cubicBezTo>
                        <a:pt x="568866" y="864732"/>
                        <a:pt x="568150" y="865446"/>
                        <a:pt x="567433" y="865446"/>
                      </a:cubicBezTo>
                      <a:cubicBezTo>
                        <a:pt x="567433" y="865446"/>
                        <a:pt x="567433" y="865446"/>
                        <a:pt x="522287" y="865446"/>
                      </a:cubicBezTo>
                      <a:cubicBezTo>
                        <a:pt x="522287" y="865446"/>
                        <a:pt x="522287" y="865446"/>
                        <a:pt x="522287" y="513413"/>
                      </a:cubicBezTo>
                      <a:cubicBezTo>
                        <a:pt x="522287" y="513413"/>
                        <a:pt x="522287" y="513413"/>
                        <a:pt x="712902" y="513413"/>
                      </a:cubicBezTo>
                      <a:cubicBezTo>
                        <a:pt x="721501" y="513413"/>
                        <a:pt x="728667" y="506272"/>
                        <a:pt x="728667" y="497703"/>
                      </a:cubicBezTo>
                      <a:cubicBezTo>
                        <a:pt x="728667" y="497703"/>
                        <a:pt x="728667" y="497703"/>
                        <a:pt x="728667" y="410587"/>
                      </a:cubicBezTo>
                      <a:cubicBezTo>
                        <a:pt x="728667" y="410587"/>
                        <a:pt x="728667" y="410587"/>
                        <a:pt x="848339" y="410587"/>
                      </a:cubicBezTo>
                      <a:cubicBezTo>
                        <a:pt x="853356" y="419156"/>
                        <a:pt x="862671" y="424869"/>
                        <a:pt x="873420" y="424869"/>
                      </a:cubicBezTo>
                      <a:cubicBezTo>
                        <a:pt x="889902" y="424869"/>
                        <a:pt x="903517" y="411301"/>
                        <a:pt x="903517" y="394878"/>
                      </a:cubicBezTo>
                      <a:cubicBezTo>
                        <a:pt x="903517" y="378454"/>
                        <a:pt x="889902" y="364887"/>
                        <a:pt x="873420" y="364887"/>
                      </a:cubicBezTo>
                      <a:cubicBezTo>
                        <a:pt x="862671" y="364887"/>
                        <a:pt x="853356" y="370600"/>
                        <a:pt x="848339" y="379168"/>
                      </a:cubicBezTo>
                      <a:cubicBezTo>
                        <a:pt x="848339" y="379168"/>
                        <a:pt x="848339" y="379168"/>
                        <a:pt x="712902" y="379168"/>
                      </a:cubicBezTo>
                      <a:cubicBezTo>
                        <a:pt x="703587" y="379168"/>
                        <a:pt x="697137" y="386309"/>
                        <a:pt x="697137" y="394878"/>
                      </a:cubicBezTo>
                      <a:cubicBezTo>
                        <a:pt x="697137" y="394878"/>
                        <a:pt x="697137" y="394878"/>
                        <a:pt x="697137" y="481994"/>
                      </a:cubicBezTo>
                      <a:cubicBezTo>
                        <a:pt x="697137" y="481994"/>
                        <a:pt x="697137" y="481994"/>
                        <a:pt x="522287" y="481994"/>
                      </a:cubicBezTo>
                      <a:cubicBezTo>
                        <a:pt x="522287" y="481994"/>
                        <a:pt x="522287" y="481994"/>
                        <a:pt x="522287" y="207079"/>
                      </a:cubicBezTo>
                      <a:cubicBezTo>
                        <a:pt x="522287" y="207079"/>
                        <a:pt x="522287" y="207079"/>
                        <a:pt x="611862" y="207079"/>
                      </a:cubicBezTo>
                      <a:cubicBezTo>
                        <a:pt x="620461" y="207079"/>
                        <a:pt x="627627" y="199938"/>
                        <a:pt x="627627" y="191369"/>
                      </a:cubicBezTo>
                      <a:cubicBezTo>
                        <a:pt x="627627" y="191369"/>
                        <a:pt x="627627" y="191369"/>
                        <a:pt x="627627" y="119249"/>
                      </a:cubicBezTo>
                      <a:cubicBezTo>
                        <a:pt x="636226" y="113536"/>
                        <a:pt x="641959" y="104254"/>
                        <a:pt x="641959" y="93543"/>
                      </a:cubicBezTo>
                      <a:cubicBezTo>
                        <a:pt x="641959" y="77119"/>
                        <a:pt x="628344" y="63552"/>
                        <a:pt x="611862" y="63552"/>
                      </a:cubicBezTo>
                      <a:cubicBezTo>
                        <a:pt x="595380" y="63552"/>
                        <a:pt x="581765" y="77119"/>
                        <a:pt x="581765" y="93543"/>
                      </a:cubicBezTo>
                      <a:cubicBezTo>
                        <a:pt x="581765" y="104254"/>
                        <a:pt x="587498" y="113536"/>
                        <a:pt x="596097" y="119249"/>
                      </a:cubicBezTo>
                      <a:cubicBezTo>
                        <a:pt x="596097" y="119249"/>
                        <a:pt x="596097" y="119249"/>
                        <a:pt x="596097" y="175660"/>
                      </a:cubicBezTo>
                      <a:cubicBezTo>
                        <a:pt x="596097" y="175660"/>
                        <a:pt x="596097" y="175660"/>
                        <a:pt x="522287" y="175660"/>
                      </a:cubicBezTo>
                      <a:cubicBezTo>
                        <a:pt x="522287" y="175660"/>
                        <a:pt x="522287" y="175660"/>
                        <a:pt x="522287" y="49271"/>
                      </a:cubicBezTo>
                      <a:cubicBezTo>
                        <a:pt x="549518" y="18566"/>
                        <a:pt x="587498" y="0"/>
                        <a:pt x="629060" y="0"/>
                      </a:cubicBezTo>
                      <a:close/>
                      <a:moveTo>
                        <a:pt x="327005" y="0"/>
                      </a:moveTo>
                      <a:cubicBezTo>
                        <a:pt x="368416" y="0"/>
                        <a:pt x="406257" y="18566"/>
                        <a:pt x="433388" y="49271"/>
                      </a:cubicBezTo>
                      <a:cubicBezTo>
                        <a:pt x="433388" y="49271"/>
                        <a:pt x="433388" y="49271"/>
                        <a:pt x="433388" y="181373"/>
                      </a:cubicBezTo>
                      <a:cubicBezTo>
                        <a:pt x="433388" y="181373"/>
                        <a:pt x="433388" y="181373"/>
                        <a:pt x="361990" y="181373"/>
                      </a:cubicBezTo>
                      <a:cubicBezTo>
                        <a:pt x="361990" y="181373"/>
                        <a:pt x="361990" y="181373"/>
                        <a:pt x="361990" y="119249"/>
                      </a:cubicBezTo>
                      <a:cubicBezTo>
                        <a:pt x="370558" y="113536"/>
                        <a:pt x="376270" y="104254"/>
                        <a:pt x="376270" y="93543"/>
                      </a:cubicBezTo>
                      <a:cubicBezTo>
                        <a:pt x="376270" y="77119"/>
                        <a:pt x="363418" y="63552"/>
                        <a:pt x="346282" y="63552"/>
                      </a:cubicBezTo>
                      <a:cubicBezTo>
                        <a:pt x="329861" y="63552"/>
                        <a:pt x="316295" y="77119"/>
                        <a:pt x="316295" y="93543"/>
                      </a:cubicBezTo>
                      <a:cubicBezTo>
                        <a:pt x="316295" y="104254"/>
                        <a:pt x="322007" y="113536"/>
                        <a:pt x="330575" y="119249"/>
                      </a:cubicBezTo>
                      <a:cubicBezTo>
                        <a:pt x="330575" y="119249"/>
                        <a:pt x="330575" y="119249"/>
                        <a:pt x="330575" y="181373"/>
                      </a:cubicBezTo>
                      <a:cubicBezTo>
                        <a:pt x="330575" y="181373"/>
                        <a:pt x="330575" y="181373"/>
                        <a:pt x="265602" y="181373"/>
                      </a:cubicBezTo>
                      <a:cubicBezTo>
                        <a:pt x="257034" y="181373"/>
                        <a:pt x="249894" y="187799"/>
                        <a:pt x="249894" y="197082"/>
                      </a:cubicBezTo>
                      <a:cubicBezTo>
                        <a:pt x="249894" y="197082"/>
                        <a:pt x="249894" y="197082"/>
                        <a:pt x="249894" y="262776"/>
                      </a:cubicBezTo>
                      <a:cubicBezTo>
                        <a:pt x="241327" y="267774"/>
                        <a:pt x="235615" y="277771"/>
                        <a:pt x="235615" y="288482"/>
                      </a:cubicBezTo>
                      <a:cubicBezTo>
                        <a:pt x="235615" y="304906"/>
                        <a:pt x="249180" y="318473"/>
                        <a:pt x="265602" y="318473"/>
                      </a:cubicBezTo>
                      <a:cubicBezTo>
                        <a:pt x="282024" y="318473"/>
                        <a:pt x="295589" y="304906"/>
                        <a:pt x="295589" y="288482"/>
                      </a:cubicBezTo>
                      <a:cubicBezTo>
                        <a:pt x="295589" y="277771"/>
                        <a:pt x="289878" y="267774"/>
                        <a:pt x="281310" y="262776"/>
                      </a:cubicBezTo>
                      <a:cubicBezTo>
                        <a:pt x="281310" y="262776"/>
                        <a:pt x="281310" y="262776"/>
                        <a:pt x="281310" y="212791"/>
                      </a:cubicBezTo>
                      <a:cubicBezTo>
                        <a:pt x="281310" y="212791"/>
                        <a:pt x="281310" y="212791"/>
                        <a:pt x="343426" y="212791"/>
                      </a:cubicBezTo>
                      <a:cubicBezTo>
                        <a:pt x="344854" y="212791"/>
                        <a:pt x="345568" y="212791"/>
                        <a:pt x="346282" y="212791"/>
                      </a:cubicBezTo>
                      <a:cubicBezTo>
                        <a:pt x="346282" y="212791"/>
                        <a:pt x="346282" y="212791"/>
                        <a:pt x="385551" y="212791"/>
                      </a:cubicBezTo>
                      <a:cubicBezTo>
                        <a:pt x="386979" y="212791"/>
                        <a:pt x="387693" y="212791"/>
                        <a:pt x="388407" y="212791"/>
                      </a:cubicBezTo>
                      <a:cubicBezTo>
                        <a:pt x="388407" y="212791"/>
                        <a:pt x="388407" y="212791"/>
                        <a:pt x="433388" y="212791"/>
                      </a:cubicBezTo>
                      <a:cubicBezTo>
                        <a:pt x="433388" y="212791"/>
                        <a:pt x="433388" y="212791"/>
                        <a:pt x="433388" y="564825"/>
                      </a:cubicBezTo>
                      <a:cubicBezTo>
                        <a:pt x="433388" y="564825"/>
                        <a:pt x="433388" y="564825"/>
                        <a:pt x="243469" y="564825"/>
                      </a:cubicBezTo>
                      <a:cubicBezTo>
                        <a:pt x="234901" y="564825"/>
                        <a:pt x="227761" y="571252"/>
                        <a:pt x="227761" y="580535"/>
                      </a:cubicBezTo>
                      <a:cubicBezTo>
                        <a:pt x="227761" y="580535"/>
                        <a:pt x="227761" y="580535"/>
                        <a:pt x="227761" y="667650"/>
                      </a:cubicBezTo>
                      <a:cubicBezTo>
                        <a:pt x="227761" y="667650"/>
                        <a:pt x="227761" y="667650"/>
                        <a:pt x="108526" y="667650"/>
                      </a:cubicBezTo>
                      <a:cubicBezTo>
                        <a:pt x="103528" y="659082"/>
                        <a:pt x="94246" y="653369"/>
                        <a:pt x="83536" y="653369"/>
                      </a:cubicBezTo>
                      <a:cubicBezTo>
                        <a:pt x="67115" y="653369"/>
                        <a:pt x="53549" y="666222"/>
                        <a:pt x="53549" y="683360"/>
                      </a:cubicBezTo>
                      <a:cubicBezTo>
                        <a:pt x="53549" y="699783"/>
                        <a:pt x="67115" y="712637"/>
                        <a:pt x="83536" y="712637"/>
                      </a:cubicBezTo>
                      <a:cubicBezTo>
                        <a:pt x="94246" y="712637"/>
                        <a:pt x="103528" y="706924"/>
                        <a:pt x="108526" y="699069"/>
                      </a:cubicBezTo>
                      <a:cubicBezTo>
                        <a:pt x="108526" y="699069"/>
                        <a:pt x="108526" y="699069"/>
                        <a:pt x="243469" y="699069"/>
                      </a:cubicBezTo>
                      <a:cubicBezTo>
                        <a:pt x="252750" y="699069"/>
                        <a:pt x="259176" y="691929"/>
                        <a:pt x="259176" y="683360"/>
                      </a:cubicBezTo>
                      <a:cubicBezTo>
                        <a:pt x="259176" y="683360"/>
                        <a:pt x="259176" y="683360"/>
                        <a:pt x="259176" y="596244"/>
                      </a:cubicBezTo>
                      <a:cubicBezTo>
                        <a:pt x="259176" y="596244"/>
                        <a:pt x="259176" y="596244"/>
                        <a:pt x="433388" y="596244"/>
                      </a:cubicBezTo>
                      <a:cubicBezTo>
                        <a:pt x="433388" y="596244"/>
                        <a:pt x="433388" y="596244"/>
                        <a:pt x="433388" y="871159"/>
                      </a:cubicBezTo>
                      <a:cubicBezTo>
                        <a:pt x="433388" y="871159"/>
                        <a:pt x="433388" y="871159"/>
                        <a:pt x="344140" y="871159"/>
                      </a:cubicBezTo>
                      <a:cubicBezTo>
                        <a:pt x="335572" y="871159"/>
                        <a:pt x="328433" y="878300"/>
                        <a:pt x="328433" y="886868"/>
                      </a:cubicBezTo>
                      <a:cubicBezTo>
                        <a:pt x="328433" y="886868"/>
                        <a:pt x="328433" y="886868"/>
                        <a:pt x="328433" y="958989"/>
                      </a:cubicBezTo>
                      <a:cubicBezTo>
                        <a:pt x="319865" y="963987"/>
                        <a:pt x="314153" y="973270"/>
                        <a:pt x="314153" y="983981"/>
                      </a:cubicBezTo>
                      <a:cubicBezTo>
                        <a:pt x="314153" y="1000405"/>
                        <a:pt x="327719" y="1013972"/>
                        <a:pt x="344140" y="1013972"/>
                      </a:cubicBezTo>
                      <a:cubicBezTo>
                        <a:pt x="360562" y="1013972"/>
                        <a:pt x="374128" y="1000405"/>
                        <a:pt x="374128" y="983981"/>
                      </a:cubicBezTo>
                      <a:cubicBezTo>
                        <a:pt x="374128" y="973270"/>
                        <a:pt x="368416" y="963987"/>
                        <a:pt x="359848" y="958989"/>
                      </a:cubicBezTo>
                      <a:cubicBezTo>
                        <a:pt x="359848" y="958989"/>
                        <a:pt x="359848" y="958989"/>
                        <a:pt x="359848" y="902578"/>
                      </a:cubicBezTo>
                      <a:cubicBezTo>
                        <a:pt x="359848" y="902578"/>
                        <a:pt x="359848" y="902578"/>
                        <a:pt x="433388" y="902578"/>
                      </a:cubicBezTo>
                      <a:cubicBezTo>
                        <a:pt x="433388" y="902578"/>
                        <a:pt x="433388" y="902578"/>
                        <a:pt x="433388" y="1026825"/>
                      </a:cubicBezTo>
                      <a:cubicBezTo>
                        <a:pt x="433388" y="1063242"/>
                        <a:pt x="411969" y="1095375"/>
                        <a:pt x="372700" y="1095375"/>
                      </a:cubicBezTo>
                      <a:cubicBezTo>
                        <a:pt x="301301" y="1095375"/>
                        <a:pt x="211339" y="1023255"/>
                        <a:pt x="179210" y="947564"/>
                      </a:cubicBezTo>
                      <a:cubicBezTo>
                        <a:pt x="179210" y="946850"/>
                        <a:pt x="179210" y="946136"/>
                        <a:pt x="179210" y="945422"/>
                      </a:cubicBezTo>
                      <a:cubicBezTo>
                        <a:pt x="179210" y="945422"/>
                        <a:pt x="179210" y="945422"/>
                        <a:pt x="179210" y="805465"/>
                      </a:cubicBezTo>
                      <a:cubicBezTo>
                        <a:pt x="179210" y="805465"/>
                        <a:pt x="179210" y="805465"/>
                        <a:pt x="269172" y="805465"/>
                      </a:cubicBezTo>
                      <a:cubicBezTo>
                        <a:pt x="274170" y="814034"/>
                        <a:pt x="284166" y="819746"/>
                        <a:pt x="294875" y="819746"/>
                      </a:cubicBezTo>
                      <a:cubicBezTo>
                        <a:pt x="311297" y="819746"/>
                        <a:pt x="324863" y="806179"/>
                        <a:pt x="324863" y="789756"/>
                      </a:cubicBezTo>
                      <a:cubicBezTo>
                        <a:pt x="324863" y="773332"/>
                        <a:pt x="311297" y="759765"/>
                        <a:pt x="294875" y="759765"/>
                      </a:cubicBezTo>
                      <a:cubicBezTo>
                        <a:pt x="284166" y="759765"/>
                        <a:pt x="274170" y="765477"/>
                        <a:pt x="269172" y="774046"/>
                      </a:cubicBezTo>
                      <a:cubicBezTo>
                        <a:pt x="269172" y="774046"/>
                        <a:pt x="269172" y="774046"/>
                        <a:pt x="163502" y="774046"/>
                      </a:cubicBezTo>
                      <a:cubicBezTo>
                        <a:pt x="154935" y="774046"/>
                        <a:pt x="147795" y="781187"/>
                        <a:pt x="147795" y="789756"/>
                      </a:cubicBezTo>
                      <a:cubicBezTo>
                        <a:pt x="147795" y="789756"/>
                        <a:pt x="147795" y="789756"/>
                        <a:pt x="147795" y="892581"/>
                      </a:cubicBezTo>
                      <a:cubicBezTo>
                        <a:pt x="61403" y="856878"/>
                        <a:pt x="0" y="767620"/>
                        <a:pt x="0" y="662652"/>
                      </a:cubicBezTo>
                      <a:cubicBezTo>
                        <a:pt x="0" y="613382"/>
                        <a:pt x="13566" y="566967"/>
                        <a:pt x="37127" y="528408"/>
                      </a:cubicBezTo>
                      <a:cubicBezTo>
                        <a:pt x="37127" y="528408"/>
                        <a:pt x="37127" y="528408"/>
                        <a:pt x="99958" y="528408"/>
                      </a:cubicBezTo>
                      <a:cubicBezTo>
                        <a:pt x="104956" y="536977"/>
                        <a:pt x="114952" y="542689"/>
                        <a:pt x="125661" y="542689"/>
                      </a:cubicBezTo>
                      <a:cubicBezTo>
                        <a:pt x="142083" y="542689"/>
                        <a:pt x="155649" y="529122"/>
                        <a:pt x="155649" y="512698"/>
                      </a:cubicBezTo>
                      <a:cubicBezTo>
                        <a:pt x="155649" y="496275"/>
                        <a:pt x="142083" y="482708"/>
                        <a:pt x="125661" y="482708"/>
                      </a:cubicBezTo>
                      <a:cubicBezTo>
                        <a:pt x="114952" y="482708"/>
                        <a:pt x="104956" y="488420"/>
                        <a:pt x="99958" y="496989"/>
                      </a:cubicBezTo>
                      <a:cubicBezTo>
                        <a:pt x="99958" y="496989"/>
                        <a:pt x="99958" y="496989"/>
                        <a:pt x="37841" y="496989"/>
                      </a:cubicBezTo>
                      <a:cubicBezTo>
                        <a:pt x="17136" y="463428"/>
                        <a:pt x="4998" y="423440"/>
                        <a:pt x="4998" y="379882"/>
                      </a:cubicBezTo>
                      <a:cubicBezTo>
                        <a:pt x="4998" y="270631"/>
                        <a:pt x="81394" y="179944"/>
                        <a:pt x="180638" y="165663"/>
                      </a:cubicBezTo>
                      <a:cubicBezTo>
                        <a:pt x="180638" y="162807"/>
                        <a:pt x="179924" y="159237"/>
                        <a:pt x="179924" y="156380"/>
                      </a:cubicBezTo>
                      <a:cubicBezTo>
                        <a:pt x="179924" y="69978"/>
                        <a:pt x="245611" y="0"/>
                        <a:pt x="327005"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sp>
        <p:nvSpPr>
          <p:cNvPr id="96" name="Content Placeholder 5">
            <a:extLst>
              <a:ext uri="{FF2B5EF4-FFF2-40B4-BE49-F238E27FC236}">
                <a16:creationId xmlns:a16="http://schemas.microsoft.com/office/drawing/2014/main" id="{2700D9AC-4376-B14F-817F-F41D4DC7B8D3}"/>
              </a:ext>
            </a:extLst>
          </p:cNvPr>
          <p:cNvSpPr txBox="1">
            <a:spLocks/>
          </p:cNvSpPr>
          <p:nvPr/>
        </p:nvSpPr>
        <p:spPr>
          <a:xfrm>
            <a:off x="7981659" y="4022437"/>
            <a:ext cx="1712924" cy="934641"/>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Aft>
                <a:spcPts val="0"/>
              </a:spcAft>
              <a:buSzPct val="100000"/>
              <a:buFont typeface="Trebuchet MS" panose="020B0603020202020204" pitchFamily="34" charset="0"/>
              <a:buChar char="​"/>
            </a:pPr>
            <a:r>
              <a:rPr lang="fr-FR" altLang="fr-FR" sz="1600" dirty="0">
                <a:solidFill>
                  <a:schemeClr val="tx1">
                    <a:lumMod val="100000"/>
                  </a:schemeClr>
                </a:solidFill>
                <a:latin typeface="Trebuchet MS" panose="020B0603020202020204" pitchFamily="34" charset="0"/>
              </a:rPr>
              <a:t>Pour élaborer des résultats…</a:t>
            </a:r>
          </a:p>
        </p:txBody>
      </p:sp>
      <p:grpSp>
        <p:nvGrpSpPr>
          <p:cNvPr id="28" name="Group 27">
            <a:extLst>
              <a:ext uri="{FF2B5EF4-FFF2-40B4-BE49-F238E27FC236}">
                <a16:creationId xmlns:a16="http://schemas.microsoft.com/office/drawing/2014/main" id="{FD11DC83-881C-9944-8152-65EC750DC2BC}"/>
              </a:ext>
            </a:extLst>
          </p:cNvPr>
          <p:cNvGrpSpPr/>
          <p:nvPr/>
        </p:nvGrpSpPr>
        <p:grpSpPr>
          <a:xfrm>
            <a:off x="8017791" y="2256363"/>
            <a:ext cx="1640659" cy="1640659"/>
            <a:chOff x="8017791" y="2256363"/>
            <a:chExt cx="1640659" cy="1640659"/>
          </a:xfrm>
        </p:grpSpPr>
        <p:sp>
          <p:nvSpPr>
            <p:cNvPr id="45" name="Oval 44"/>
            <p:cNvSpPr>
              <a:spLocks noChangeAspect="1"/>
            </p:cNvSpPr>
            <p:nvPr/>
          </p:nvSpPr>
          <p:spPr>
            <a:xfrm>
              <a:off x="8017791" y="2256363"/>
              <a:ext cx="1640659" cy="1640659"/>
            </a:xfrm>
            <a:prstGeom prst="ellipse">
              <a:avLst/>
            </a:prstGeom>
            <a:solidFill>
              <a:srgbClr val="FFFFFF"/>
            </a:solidFill>
            <a:ln w="38100" cap="rnd">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bg1">
                    <a:lumMod val="50000"/>
                  </a:schemeClr>
                </a:solidFill>
              </a:endParaRPr>
            </a:p>
          </p:txBody>
        </p:sp>
        <p:grpSp>
          <p:nvGrpSpPr>
            <p:cNvPr id="97" name="Group 96">
              <a:extLst>
                <a:ext uri="{FF2B5EF4-FFF2-40B4-BE49-F238E27FC236}">
                  <a16:creationId xmlns:a16="http://schemas.microsoft.com/office/drawing/2014/main" id="{48C03261-AE3F-5E45-8943-1A3ED2DB1D1E}"/>
                </a:ext>
              </a:extLst>
            </p:cNvPr>
            <p:cNvGrpSpPr>
              <a:grpSpLocks noChangeAspect="1"/>
            </p:cNvGrpSpPr>
            <p:nvPr/>
          </p:nvGrpSpPr>
          <p:grpSpPr>
            <a:xfrm>
              <a:off x="8327522" y="2566094"/>
              <a:ext cx="1021198" cy="1021198"/>
              <a:chOff x="5273675" y="2606675"/>
              <a:chExt cx="1644650" cy="1644650"/>
            </a:xfrm>
          </p:grpSpPr>
          <p:sp>
            <p:nvSpPr>
              <p:cNvPr id="98" name="AutoShape 3">
                <a:extLst>
                  <a:ext uri="{FF2B5EF4-FFF2-40B4-BE49-F238E27FC236}">
                    <a16:creationId xmlns:a16="http://schemas.microsoft.com/office/drawing/2014/main" id="{7715D40A-0841-FA40-8B96-A0FD2B9F1C2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9" name="Group 98">
                <a:extLst>
                  <a:ext uri="{FF2B5EF4-FFF2-40B4-BE49-F238E27FC236}">
                    <a16:creationId xmlns:a16="http://schemas.microsoft.com/office/drawing/2014/main" id="{2178B496-9804-2F4E-AB29-4B241CD67A3E}"/>
                  </a:ext>
                </a:extLst>
              </p:cNvPr>
              <p:cNvGrpSpPr/>
              <p:nvPr/>
            </p:nvGrpSpPr>
            <p:grpSpPr>
              <a:xfrm>
                <a:off x="5443538" y="2962275"/>
                <a:ext cx="1304925" cy="930275"/>
                <a:chOff x="5443538" y="2962275"/>
                <a:chExt cx="1304925" cy="930275"/>
              </a:xfrm>
            </p:grpSpPr>
            <p:sp>
              <p:nvSpPr>
                <p:cNvPr id="100" name="Freeform 99">
                  <a:extLst>
                    <a:ext uri="{FF2B5EF4-FFF2-40B4-BE49-F238E27FC236}">
                      <a16:creationId xmlns:a16="http://schemas.microsoft.com/office/drawing/2014/main" id="{AFD61AC8-13AF-514B-AA27-B21DE40D78CE}"/>
                    </a:ext>
                  </a:extLst>
                </p:cNvPr>
                <p:cNvSpPr>
                  <a:spLocks/>
                </p:cNvSpPr>
                <p:nvPr/>
              </p:nvSpPr>
              <p:spPr bwMode="auto">
                <a:xfrm>
                  <a:off x="5443538" y="2962275"/>
                  <a:ext cx="1304925" cy="930275"/>
                </a:xfrm>
                <a:custGeom>
                  <a:avLst/>
                  <a:gdLst>
                    <a:gd name="connsiteX0" fmla="*/ 806015 w 1304925"/>
                    <a:gd name="connsiteY0" fmla="*/ 92633 h 930275"/>
                    <a:gd name="connsiteX1" fmla="*/ 945135 w 1304925"/>
                    <a:gd name="connsiteY1" fmla="*/ 125524 h 930275"/>
                    <a:gd name="connsiteX2" fmla="*/ 945848 w 1304925"/>
                    <a:gd name="connsiteY2" fmla="*/ 125524 h 930275"/>
                    <a:gd name="connsiteX3" fmla="*/ 946562 w 1304925"/>
                    <a:gd name="connsiteY3" fmla="*/ 125524 h 930275"/>
                    <a:gd name="connsiteX4" fmla="*/ 947989 w 1304925"/>
                    <a:gd name="connsiteY4" fmla="*/ 126239 h 930275"/>
                    <a:gd name="connsiteX5" fmla="*/ 949415 w 1304925"/>
                    <a:gd name="connsiteY5" fmla="*/ 126954 h 930275"/>
                    <a:gd name="connsiteX6" fmla="*/ 950129 w 1304925"/>
                    <a:gd name="connsiteY6" fmla="*/ 127669 h 930275"/>
                    <a:gd name="connsiteX7" fmla="*/ 950842 w 1304925"/>
                    <a:gd name="connsiteY7" fmla="*/ 127669 h 930275"/>
                    <a:gd name="connsiteX8" fmla="*/ 951556 w 1304925"/>
                    <a:gd name="connsiteY8" fmla="*/ 128384 h 930275"/>
                    <a:gd name="connsiteX9" fmla="*/ 952269 w 1304925"/>
                    <a:gd name="connsiteY9" fmla="*/ 129099 h 930275"/>
                    <a:gd name="connsiteX10" fmla="*/ 952983 w 1304925"/>
                    <a:gd name="connsiteY10" fmla="*/ 129099 h 930275"/>
                    <a:gd name="connsiteX11" fmla="*/ 952983 w 1304925"/>
                    <a:gd name="connsiteY11" fmla="*/ 129814 h 930275"/>
                    <a:gd name="connsiteX12" fmla="*/ 953696 w 1304925"/>
                    <a:gd name="connsiteY12" fmla="*/ 130529 h 930275"/>
                    <a:gd name="connsiteX13" fmla="*/ 954409 w 1304925"/>
                    <a:gd name="connsiteY13" fmla="*/ 131244 h 930275"/>
                    <a:gd name="connsiteX14" fmla="*/ 955123 w 1304925"/>
                    <a:gd name="connsiteY14" fmla="*/ 131959 h 930275"/>
                    <a:gd name="connsiteX15" fmla="*/ 955836 w 1304925"/>
                    <a:gd name="connsiteY15" fmla="*/ 133389 h 930275"/>
                    <a:gd name="connsiteX16" fmla="*/ 956550 w 1304925"/>
                    <a:gd name="connsiteY16" fmla="*/ 134819 h 930275"/>
                    <a:gd name="connsiteX17" fmla="*/ 956550 w 1304925"/>
                    <a:gd name="connsiteY17" fmla="*/ 135534 h 930275"/>
                    <a:gd name="connsiteX18" fmla="*/ 956550 w 1304925"/>
                    <a:gd name="connsiteY18" fmla="*/ 136249 h 930275"/>
                    <a:gd name="connsiteX19" fmla="*/ 957263 w 1304925"/>
                    <a:gd name="connsiteY19" fmla="*/ 136249 h 930275"/>
                    <a:gd name="connsiteX20" fmla="*/ 957263 w 1304925"/>
                    <a:gd name="connsiteY20" fmla="*/ 136965 h 930275"/>
                    <a:gd name="connsiteX21" fmla="*/ 957263 w 1304925"/>
                    <a:gd name="connsiteY21" fmla="*/ 137680 h 930275"/>
                    <a:gd name="connsiteX22" fmla="*/ 957263 w 1304925"/>
                    <a:gd name="connsiteY22" fmla="*/ 138395 h 930275"/>
                    <a:gd name="connsiteX23" fmla="*/ 957263 w 1304925"/>
                    <a:gd name="connsiteY23" fmla="*/ 139110 h 930275"/>
                    <a:gd name="connsiteX24" fmla="*/ 957263 w 1304925"/>
                    <a:gd name="connsiteY24" fmla="*/ 139825 h 930275"/>
                    <a:gd name="connsiteX25" fmla="*/ 957263 w 1304925"/>
                    <a:gd name="connsiteY25" fmla="*/ 140540 h 930275"/>
                    <a:gd name="connsiteX26" fmla="*/ 957263 w 1304925"/>
                    <a:gd name="connsiteY26" fmla="*/ 141255 h 930275"/>
                    <a:gd name="connsiteX27" fmla="*/ 957263 w 1304925"/>
                    <a:gd name="connsiteY27" fmla="*/ 141970 h 930275"/>
                    <a:gd name="connsiteX28" fmla="*/ 957263 w 1304925"/>
                    <a:gd name="connsiteY28" fmla="*/ 142685 h 930275"/>
                    <a:gd name="connsiteX29" fmla="*/ 957263 w 1304925"/>
                    <a:gd name="connsiteY29" fmla="*/ 143400 h 930275"/>
                    <a:gd name="connsiteX30" fmla="*/ 957263 w 1304925"/>
                    <a:gd name="connsiteY30" fmla="*/ 144115 h 930275"/>
                    <a:gd name="connsiteX31" fmla="*/ 957263 w 1304925"/>
                    <a:gd name="connsiteY31" fmla="*/ 144830 h 930275"/>
                    <a:gd name="connsiteX32" fmla="*/ 956550 w 1304925"/>
                    <a:gd name="connsiteY32" fmla="*/ 145545 h 930275"/>
                    <a:gd name="connsiteX33" fmla="*/ 956550 w 1304925"/>
                    <a:gd name="connsiteY33" fmla="*/ 146260 h 930275"/>
                    <a:gd name="connsiteX34" fmla="*/ 956550 w 1304925"/>
                    <a:gd name="connsiteY34" fmla="*/ 146975 h 930275"/>
                    <a:gd name="connsiteX35" fmla="*/ 955836 w 1304925"/>
                    <a:gd name="connsiteY35" fmla="*/ 146975 h 930275"/>
                    <a:gd name="connsiteX36" fmla="*/ 897335 w 1304925"/>
                    <a:gd name="connsiteY36" fmla="*/ 278539 h 930275"/>
                    <a:gd name="connsiteX37" fmla="*/ 883066 w 1304925"/>
                    <a:gd name="connsiteY37" fmla="*/ 287834 h 930275"/>
                    <a:gd name="connsiteX38" fmla="*/ 876645 w 1304925"/>
                    <a:gd name="connsiteY38" fmla="*/ 286404 h 930275"/>
                    <a:gd name="connsiteX39" fmla="*/ 868797 w 1304925"/>
                    <a:gd name="connsiteY39" fmla="*/ 265668 h 930275"/>
                    <a:gd name="connsiteX40" fmla="*/ 909463 w 1304925"/>
                    <a:gd name="connsiteY40" fmla="*/ 174146 h 930275"/>
                    <a:gd name="connsiteX41" fmla="*/ 199595 w 1304925"/>
                    <a:gd name="connsiteY41" fmla="*/ 528081 h 930275"/>
                    <a:gd name="connsiteX42" fmla="*/ 193175 w 1304925"/>
                    <a:gd name="connsiteY42" fmla="*/ 530226 h 930275"/>
                    <a:gd name="connsiteX43" fmla="*/ 178906 w 1304925"/>
                    <a:gd name="connsiteY43" fmla="*/ 520931 h 930275"/>
                    <a:gd name="connsiteX44" fmla="*/ 186040 w 1304925"/>
                    <a:gd name="connsiteY44" fmla="*/ 500195 h 930275"/>
                    <a:gd name="connsiteX45" fmla="*/ 895908 w 1304925"/>
                    <a:gd name="connsiteY45" fmla="*/ 146260 h 930275"/>
                    <a:gd name="connsiteX46" fmla="*/ 798881 w 1304925"/>
                    <a:gd name="connsiteY46" fmla="*/ 123379 h 930275"/>
                    <a:gd name="connsiteX47" fmla="*/ 787466 w 1304925"/>
                    <a:gd name="connsiteY47" fmla="*/ 104789 h 930275"/>
                    <a:gd name="connsiteX48" fmla="*/ 806015 w 1304925"/>
                    <a:gd name="connsiteY48" fmla="*/ 92633 h 930275"/>
                    <a:gd name="connsiteX49" fmla="*/ 31750 w 1304925"/>
                    <a:gd name="connsiteY49" fmla="*/ 31750 h 930275"/>
                    <a:gd name="connsiteX50" fmla="*/ 31750 w 1304925"/>
                    <a:gd name="connsiteY50" fmla="*/ 900113 h 930275"/>
                    <a:gd name="connsiteX51" fmla="*/ 1273175 w 1304925"/>
                    <a:gd name="connsiteY51" fmla="*/ 900113 h 930275"/>
                    <a:gd name="connsiteX52" fmla="*/ 1273175 w 1304925"/>
                    <a:gd name="connsiteY52" fmla="*/ 31750 h 930275"/>
                    <a:gd name="connsiteX53" fmla="*/ 31750 w 1304925"/>
                    <a:gd name="connsiteY53" fmla="*/ 31750 h 930275"/>
                    <a:gd name="connsiteX54" fmla="*/ 15722 w 1304925"/>
                    <a:gd name="connsiteY54" fmla="*/ 0 h 930275"/>
                    <a:gd name="connsiteX55" fmla="*/ 1289203 w 1304925"/>
                    <a:gd name="connsiteY55" fmla="*/ 0 h 930275"/>
                    <a:gd name="connsiteX56" fmla="*/ 1304925 w 1304925"/>
                    <a:gd name="connsiteY56" fmla="*/ 15695 h 930275"/>
                    <a:gd name="connsiteX57" fmla="*/ 1304925 w 1304925"/>
                    <a:gd name="connsiteY57" fmla="*/ 914580 h 930275"/>
                    <a:gd name="connsiteX58" fmla="*/ 1289203 w 1304925"/>
                    <a:gd name="connsiteY58" fmla="*/ 930275 h 930275"/>
                    <a:gd name="connsiteX59" fmla="*/ 15722 w 1304925"/>
                    <a:gd name="connsiteY59" fmla="*/ 930275 h 930275"/>
                    <a:gd name="connsiteX60" fmla="*/ 0 w 1304925"/>
                    <a:gd name="connsiteY60" fmla="*/ 914580 h 930275"/>
                    <a:gd name="connsiteX61" fmla="*/ 0 w 1304925"/>
                    <a:gd name="connsiteY61" fmla="*/ 15695 h 930275"/>
                    <a:gd name="connsiteX62" fmla="*/ 15722 w 1304925"/>
                    <a:gd name="connsiteY62" fmla="*/ 0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304925" h="930275">
                      <a:moveTo>
                        <a:pt x="806015" y="92633"/>
                      </a:moveTo>
                      <a:cubicBezTo>
                        <a:pt x="806015" y="92633"/>
                        <a:pt x="806015" y="92633"/>
                        <a:pt x="945135" y="125524"/>
                      </a:cubicBezTo>
                      <a:cubicBezTo>
                        <a:pt x="945135" y="125524"/>
                        <a:pt x="945135" y="125524"/>
                        <a:pt x="945848" y="125524"/>
                      </a:cubicBezTo>
                      <a:cubicBezTo>
                        <a:pt x="945848" y="125524"/>
                        <a:pt x="945848" y="125524"/>
                        <a:pt x="946562" y="125524"/>
                      </a:cubicBezTo>
                      <a:cubicBezTo>
                        <a:pt x="947275" y="125524"/>
                        <a:pt x="947275" y="126239"/>
                        <a:pt x="947989" y="126239"/>
                      </a:cubicBezTo>
                      <a:cubicBezTo>
                        <a:pt x="948702" y="126239"/>
                        <a:pt x="948702" y="126954"/>
                        <a:pt x="949415" y="126954"/>
                      </a:cubicBezTo>
                      <a:cubicBezTo>
                        <a:pt x="950129" y="126954"/>
                        <a:pt x="950129" y="127669"/>
                        <a:pt x="950129" y="127669"/>
                      </a:cubicBezTo>
                      <a:cubicBezTo>
                        <a:pt x="950842" y="127669"/>
                        <a:pt x="950842" y="127669"/>
                        <a:pt x="950842" y="127669"/>
                      </a:cubicBezTo>
                      <a:cubicBezTo>
                        <a:pt x="950842" y="128384"/>
                        <a:pt x="951556" y="128384"/>
                        <a:pt x="951556" y="128384"/>
                      </a:cubicBezTo>
                      <a:cubicBezTo>
                        <a:pt x="951556" y="128384"/>
                        <a:pt x="952269" y="128384"/>
                        <a:pt x="952269" y="129099"/>
                      </a:cubicBezTo>
                      <a:cubicBezTo>
                        <a:pt x="952269" y="129099"/>
                        <a:pt x="952269" y="129099"/>
                        <a:pt x="952983" y="129099"/>
                      </a:cubicBezTo>
                      <a:cubicBezTo>
                        <a:pt x="952983" y="129814"/>
                        <a:pt x="952983" y="129814"/>
                        <a:pt x="952983" y="129814"/>
                      </a:cubicBezTo>
                      <a:cubicBezTo>
                        <a:pt x="953696" y="130529"/>
                        <a:pt x="953696" y="130529"/>
                        <a:pt x="953696" y="130529"/>
                      </a:cubicBezTo>
                      <a:cubicBezTo>
                        <a:pt x="953696" y="130529"/>
                        <a:pt x="953696" y="130529"/>
                        <a:pt x="954409" y="131244"/>
                      </a:cubicBezTo>
                      <a:cubicBezTo>
                        <a:pt x="954409" y="131959"/>
                        <a:pt x="954409" y="131959"/>
                        <a:pt x="955123" y="131959"/>
                      </a:cubicBezTo>
                      <a:cubicBezTo>
                        <a:pt x="955123" y="132674"/>
                        <a:pt x="955123" y="132674"/>
                        <a:pt x="955836" y="133389"/>
                      </a:cubicBezTo>
                      <a:cubicBezTo>
                        <a:pt x="955836" y="134104"/>
                        <a:pt x="956550" y="134819"/>
                        <a:pt x="956550" y="134819"/>
                      </a:cubicBezTo>
                      <a:cubicBezTo>
                        <a:pt x="956550" y="135534"/>
                        <a:pt x="956550" y="135534"/>
                        <a:pt x="956550" y="135534"/>
                      </a:cubicBezTo>
                      <a:cubicBezTo>
                        <a:pt x="956550" y="135534"/>
                        <a:pt x="956550" y="135534"/>
                        <a:pt x="956550" y="136249"/>
                      </a:cubicBezTo>
                      <a:cubicBezTo>
                        <a:pt x="956550" y="136249"/>
                        <a:pt x="956550" y="136249"/>
                        <a:pt x="957263" y="136249"/>
                      </a:cubicBezTo>
                      <a:cubicBezTo>
                        <a:pt x="957263" y="136965"/>
                        <a:pt x="957263" y="136965"/>
                        <a:pt x="957263" y="136965"/>
                      </a:cubicBezTo>
                      <a:cubicBezTo>
                        <a:pt x="957263" y="136965"/>
                        <a:pt x="957263" y="136965"/>
                        <a:pt x="957263" y="137680"/>
                      </a:cubicBezTo>
                      <a:cubicBezTo>
                        <a:pt x="957263" y="137680"/>
                        <a:pt x="957263" y="137680"/>
                        <a:pt x="957263" y="138395"/>
                      </a:cubicBezTo>
                      <a:cubicBezTo>
                        <a:pt x="957263" y="138395"/>
                        <a:pt x="957263" y="138395"/>
                        <a:pt x="957263" y="139110"/>
                      </a:cubicBezTo>
                      <a:cubicBezTo>
                        <a:pt x="957263" y="139110"/>
                        <a:pt x="957263" y="139110"/>
                        <a:pt x="957263" y="139825"/>
                      </a:cubicBezTo>
                      <a:cubicBezTo>
                        <a:pt x="957263" y="139825"/>
                        <a:pt x="957263" y="139825"/>
                        <a:pt x="957263" y="140540"/>
                      </a:cubicBezTo>
                      <a:cubicBezTo>
                        <a:pt x="957263" y="140540"/>
                        <a:pt x="957263" y="140540"/>
                        <a:pt x="957263" y="141255"/>
                      </a:cubicBezTo>
                      <a:cubicBezTo>
                        <a:pt x="957263" y="141255"/>
                        <a:pt x="957263" y="141255"/>
                        <a:pt x="957263" y="141970"/>
                      </a:cubicBezTo>
                      <a:cubicBezTo>
                        <a:pt x="957263" y="141970"/>
                        <a:pt x="957263" y="141970"/>
                        <a:pt x="957263" y="142685"/>
                      </a:cubicBezTo>
                      <a:cubicBezTo>
                        <a:pt x="957263" y="142685"/>
                        <a:pt x="957263" y="142685"/>
                        <a:pt x="957263" y="143400"/>
                      </a:cubicBezTo>
                      <a:cubicBezTo>
                        <a:pt x="957263" y="143400"/>
                        <a:pt x="957263" y="143400"/>
                        <a:pt x="957263" y="144115"/>
                      </a:cubicBezTo>
                      <a:cubicBezTo>
                        <a:pt x="957263" y="144115"/>
                        <a:pt x="957263" y="144115"/>
                        <a:pt x="957263" y="144830"/>
                      </a:cubicBezTo>
                      <a:cubicBezTo>
                        <a:pt x="956550" y="144830"/>
                        <a:pt x="956550" y="145545"/>
                        <a:pt x="956550" y="145545"/>
                      </a:cubicBezTo>
                      <a:cubicBezTo>
                        <a:pt x="956550" y="146260"/>
                        <a:pt x="956550" y="146260"/>
                        <a:pt x="956550" y="146260"/>
                      </a:cubicBezTo>
                      <a:cubicBezTo>
                        <a:pt x="956550" y="146975"/>
                        <a:pt x="956550" y="146975"/>
                        <a:pt x="956550" y="146975"/>
                      </a:cubicBezTo>
                      <a:cubicBezTo>
                        <a:pt x="956550" y="146975"/>
                        <a:pt x="956550" y="146975"/>
                        <a:pt x="955836" y="146975"/>
                      </a:cubicBezTo>
                      <a:cubicBezTo>
                        <a:pt x="955836" y="146975"/>
                        <a:pt x="955836" y="146975"/>
                        <a:pt x="897335" y="278539"/>
                      </a:cubicBezTo>
                      <a:cubicBezTo>
                        <a:pt x="895194" y="284259"/>
                        <a:pt x="889487" y="287834"/>
                        <a:pt x="883066" y="287834"/>
                      </a:cubicBezTo>
                      <a:cubicBezTo>
                        <a:pt x="880926" y="287834"/>
                        <a:pt x="878785" y="287119"/>
                        <a:pt x="876645" y="286404"/>
                      </a:cubicBezTo>
                      <a:cubicBezTo>
                        <a:pt x="868797" y="282829"/>
                        <a:pt x="865230" y="273534"/>
                        <a:pt x="868797" y="265668"/>
                      </a:cubicBezTo>
                      <a:cubicBezTo>
                        <a:pt x="868797" y="265668"/>
                        <a:pt x="868797" y="265668"/>
                        <a:pt x="909463" y="174146"/>
                      </a:cubicBezTo>
                      <a:cubicBezTo>
                        <a:pt x="909463" y="174146"/>
                        <a:pt x="909463" y="174146"/>
                        <a:pt x="199595" y="528081"/>
                      </a:cubicBezTo>
                      <a:cubicBezTo>
                        <a:pt x="197455" y="529511"/>
                        <a:pt x="195315" y="530226"/>
                        <a:pt x="193175" y="530226"/>
                      </a:cubicBezTo>
                      <a:cubicBezTo>
                        <a:pt x="186754" y="530226"/>
                        <a:pt x="181760" y="526651"/>
                        <a:pt x="178906" y="520931"/>
                      </a:cubicBezTo>
                      <a:cubicBezTo>
                        <a:pt x="174625" y="513066"/>
                        <a:pt x="178192" y="503770"/>
                        <a:pt x="186040" y="500195"/>
                      </a:cubicBezTo>
                      <a:cubicBezTo>
                        <a:pt x="186040" y="500195"/>
                        <a:pt x="186040" y="500195"/>
                        <a:pt x="895908" y="146260"/>
                      </a:cubicBezTo>
                      <a:cubicBezTo>
                        <a:pt x="895908" y="146260"/>
                        <a:pt x="895908" y="146260"/>
                        <a:pt x="798881" y="123379"/>
                      </a:cubicBezTo>
                      <a:cubicBezTo>
                        <a:pt x="791033" y="121234"/>
                        <a:pt x="785325" y="112654"/>
                        <a:pt x="787466" y="104789"/>
                      </a:cubicBezTo>
                      <a:cubicBezTo>
                        <a:pt x="789606" y="96208"/>
                        <a:pt x="798167" y="90488"/>
                        <a:pt x="806015" y="92633"/>
                      </a:cubicBezTo>
                      <a:close/>
                      <a:moveTo>
                        <a:pt x="31750" y="31750"/>
                      </a:moveTo>
                      <a:cubicBezTo>
                        <a:pt x="31750" y="900113"/>
                        <a:pt x="31750" y="900113"/>
                        <a:pt x="31750" y="900113"/>
                      </a:cubicBezTo>
                      <a:cubicBezTo>
                        <a:pt x="1273175" y="900113"/>
                        <a:pt x="1273175" y="900113"/>
                        <a:pt x="1273175" y="900113"/>
                      </a:cubicBezTo>
                      <a:cubicBezTo>
                        <a:pt x="1273175" y="31750"/>
                        <a:pt x="1273175" y="31750"/>
                        <a:pt x="1273175" y="31750"/>
                      </a:cubicBezTo>
                      <a:cubicBezTo>
                        <a:pt x="31750" y="31750"/>
                        <a:pt x="31750" y="31750"/>
                        <a:pt x="31750" y="31750"/>
                      </a:cubicBezTo>
                      <a:close/>
                      <a:moveTo>
                        <a:pt x="15722" y="0"/>
                      </a:moveTo>
                      <a:cubicBezTo>
                        <a:pt x="15722" y="0"/>
                        <a:pt x="15722" y="0"/>
                        <a:pt x="1289203" y="0"/>
                      </a:cubicBezTo>
                      <a:cubicBezTo>
                        <a:pt x="1297779" y="0"/>
                        <a:pt x="1304925" y="6421"/>
                        <a:pt x="1304925" y="15695"/>
                      </a:cubicBezTo>
                      <a:cubicBezTo>
                        <a:pt x="1304925" y="15695"/>
                        <a:pt x="1304925" y="15695"/>
                        <a:pt x="1304925" y="914580"/>
                      </a:cubicBezTo>
                      <a:cubicBezTo>
                        <a:pt x="1304925" y="923855"/>
                        <a:pt x="1297779" y="930275"/>
                        <a:pt x="1289203" y="930275"/>
                      </a:cubicBezTo>
                      <a:cubicBezTo>
                        <a:pt x="1289203" y="930275"/>
                        <a:pt x="1289203" y="930275"/>
                        <a:pt x="15722" y="930275"/>
                      </a:cubicBezTo>
                      <a:cubicBezTo>
                        <a:pt x="7147" y="930275"/>
                        <a:pt x="0" y="923855"/>
                        <a:pt x="0" y="914580"/>
                      </a:cubicBezTo>
                      <a:cubicBezTo>
                        <a:pt x="0" y="914580"/>
                        <a:pt x="0" y="914580"/>
                        <a:pt x="0" y="15695"/>
                      </a:cubicBezTo>
                      <a:cubicBezTo>
                        <a:pt x="0" y="6421"/>
                        <a:pt x="7147" y="0"/>
                        <a:pt x="1572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1" name="Freeform 100">
                  <a:extLst>
                    <a:ext uri="{FF2B5EF4-FFF2-40B4-BE49-F238E27FC236}">
                      <a16:creationId xmlns:a16="http://schemas.microsoft.com/office/drawing/2014/main" id="{241C0BBD-6073-544E-AE64-42A047A164BE}"/>
                    </a:ext>
                  </a:extLst>
                </p:cNvPr>
                <p:cNvSpPr>
                  <a:spLocks/>
                </p:cNvSpPr>
                <p:nvPr/>
              </p:nvSpPr>
              <p:spPr bwMode="auto">
                <a:xfrm>
                  <a:off x="5508625" y="3178175"/>
                  <a:ext cx="1174751" cy="654051"/>
                </a:xfrm>
                <a:custGeom>
                  <a:avLst/>
                  <a:gdLst>
                    <a:gd name="connsiteX0" fmla="*/ 14944 w 1174751"/>
                    <a:gd name="connsiteY0" fmla="*/ 555625 h 654051"/>
                    <a:gd name="connsiteX1" fmla="*/ 252632 w 1174751"/>
                    <a:gd name="connsiteY1" fmla="*/ 555625 h 654051"/>
                    <a:gd name="connsiteX2" fmla="*/ 268288 w 1174751"/>
                    <a:gd name="connsiteY2" fmla="*/ 571316 h 654051"/>
                    <a:gd name="connsiteX3" fmla="*/ 268288 w 1174751"/>
                    <a:gd name="connsiteY3" fmla="*/ 638359 h 654051"/>
                    <a:gd name="connsiteX4" fmla="*/ 252632 w 1174751"/>
                    <a:gd name="connsiteY4" fmla="*/ 654050 h 654051"/>
                    <a:gd name="connsiteX5" fmla="*/ 14944 w 1174751"/>
                    <a:gd name="connsiteY5" fmla="*/ 654050 h 654051"/>
                    <a:gd name="connsiteX6" fmla="*/ 0 w 1174751"/>
                    <a:gd name="connsiteY6" fmla="*/ 638359 h 654051"/>
                    <a:gd name="connsiteX7" fmla="*/ 0 w 1174751"/>
                    <a:gd name="connsiteY7" fmla="*/ 571316 h 654051"/>
                    <a:gd name="connsiteX8" fmla="*/ 14944 w 1174751"/>
                    <a:gd name="connsiteY8" fmla="*/ 555625 h 654051"/>
                    <a:gd name="connsiteX9" fmla="*/ 317332 w 1174751"/>
                    <a:gd name="connsiteY9" fmla="*/ 373063 h 654051"/>
                    <a:gd name="connsiteX10" fmla="*/ 555793 w 1174751"/>
                    <a:gd name="connsiteY10" fmla="*/ 373063 h 654051"/>
                    <a:gd name="connsiteX11" fmla="*/ 571500 w 1174751"/>
                    <a:gd name="connsiteY11" fmla="*/ 389550 h 654051"/>
                    <a:gd name="connsiteX12" fmla="*/ 571500 w 1174751"/>
                    <a:gd name="connsiteY12" fmla="*/ 638281 h 654051"/>
                    <a:gd name="connsiteX13" fmla="*/ 555793 w 1174751"/>
                    <a:gd name="connsiteY13" fmla="*/ 654051 h 654051"/>
                    <a:gd name="connsiteX14" fmla="*/ 317332 w 1174751"/>
                    <a:gd name="connsiteY14" fmla="*/ 654051 h 654051"/>
                    <a:gd name="connsiteX15" fmla="*/ 301625 w 1174751"/>
                    <a:gd name="connsiteY15" fmla="*/ 638281 h 654051"/>
                    <a:gd name="connsiteX16" fmla="*/ 301625 w 1174751"/>
                    <a:gd name="connsiteY16" fmla="*/ 389550 h 654051"/>
                    <a:gd name="connsiteX17" fmla="*/ 317332 w 1174751"/>
                    <a:gd name="connsiteY17" fmla="*/ 373063 h 654051"/>
                    <a:gd name="connsiteX18" fmla="*/ 618957 w 1174751"/>
                    <a:gd name="connsiteY18" fmla="*/ 182563 h 654051"/>
                    <a:gd name="connsiteX19" fmla="*/ 857418 w 1174751"/>
                    <a:gd name="connsiteY19" fmla="*/ 182563 h 654051"/>
                    <a:gd name="connsiteX20" fmla="*/ 873125 w 1174751"/>
                    <a:gd name="connsiteY20" fmla="*/ 198303 h 654051"/>
                    <a:gd name="connsiteX21" fmla="*/ 873125 w 1174751"/>
                    <a:gd name="connsiteY21" fmla="*/ 638311 h 654051"/>
                    <a:gd name="connsiteX22" fmla="*/ 857418 w 1174751"/>
                    <a:gd name="connsiteY22" fmla="*/ 654051 h 654051"/>
                    <a:gd name="connsiteX23" fmla="*/ 618957 w 1174751"/>
                    <a:gd name="connsiteY23" fmla="*/ 654051 h 654051"/>
                    <a:gd name="connsiteX24" fmla="*/ 603250 w 1174751"/>
                    <a:gd name="connsiteY24" fmla="*/ 638311 h 654051"/>
                    <a:gd name="connsiteX25" fmla="*/ 603250 w 1174751"/>
                    <a:gd name="connsiteY25" fmla="*/ 198303 h 654051"/>
                    <a:gd name="connsiteX26" fmla="*/ 618957 w 1174751"/>
                    <a:gd name="connsiteY26" fmla="*/ 182563 h 654051"/>
                    <a:gd name="connsiteX27" fmla="*/ 922203 w 1174751"/>
                    <a:gd name="connsiteY27" fmla="*/ 0 h 654051"/>
                    <a:gd name="connsiteX28" fmla="*/ 1159727 w 1174751"/>
                    <a:gd name="connsiteY28" fmla="*/ 0 h 654051"/>
                    <a:gd name="connsiteX29" fmla="*/ 1174751 w 1174751"/>
                    <a:gd name="connsiteY29" fmla="*/ 15726 h 654051"/>
                    <a:gd name="connsiteX30" fmla="*/ 1174751 w 1174751"/>
                    <a:gd name="connsiteY30" fmla="*/ 638324 h 654051"/>
                    <a:gd name="connsiteX31" fmla="*/ 1159727 w 1174751"/>
                    <a:gd name="connsiteY31" fmla="*/ 654050 h 654051"/>
                    <a:gd name="connsiteX32" fmla="*/ 922203 w 1174751"/>
                    <a:gd name="connsiteY32" fmla="*/ 654050 h 654051"/>
                    <a:gd name="connsiteX33" fmla="*/ 906463 w 1174751"/>
                    <a:gd name="connsiteY33" fmla="*/ 638324 h 654051"/>
                    <a:gd name="connsiteX34" fmla="*/ 906463 w 1174751"/>
                    <a:gd name="connsiteY34" fmla="*/ 15726 h 654051"/>
                    <a:gd name="connsiteX35" fmla="*/ 922203 w 1174751"/>
                    <a:gd name="connsiteY35" fmla="*/ 0 h 65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74751" h="654051">
                      <a:moveTo>
                        <a:pt x="14944" y="555625"/>
                      </a:moveTo>
                      <a:cubicBezTo>
                        <a:pt x="14944" y="555625"/>
                        <a:pt x="14944" y="555625"/>
                        <a:pt x="252632" y="555625"/>
                      </a:cubicBezTo>
                      <a:cubicBezTo>
                        <a:pt x="261171" y="555625"/>
                        <a:pt x="268288" y="562757"/>
                        <a:pt x="268288" y="571316"/>
                      </a:cubicBezTo>
                      <a:cubicBezTo>
                        <a:pt x="268288" y="571316"/>
                        <a:pt x="268288" y="571316"/>
                        <a:pt x="268288" y="638359"/>
                      </a:cubicBezTo>
                      <a:cubicBezTo>
                        <a:pt x="268288" y="647631"/>
                        <a:pt x="261171" y="654050"/>
                        <a:pt x="252632" y="654050"/>
                      </a:cubicBezTo>
                      <a:cubicBezTo>
                        <a:pt x="252632" y="654050"/>
                        <a:pt x="252632" y="654050"/>
                        <a:pt x="14944" y="654050"/>
                      </a:cubicBezTo>
                      <a:cubicBezTo>
                        <a:pt x="7116" y="654050"/>
                        <a:pt x="0" y="647631"/>
                        <a:pt x="0" y="638359"/>
                      </a:cubicBezTo>
                      <a:cubicBezTo>
                        <a:pt x="0" y="638359"/>
                        <a:pt x="0" y="638359"/>
                        <a:pt x="0" y="571316"/>
                      </a:cubicBezTo>
                      <a:cubicBezTo>
                        <a:pt x="0" y="562757"/>
                        <a:pt x="7116" y="555625"/>
                        <a:pt x="14944" y="555625"/>
                      </a:cubicBezTo>
                      <a:close/>
                      <a:moveTo>
                        <a:pt x="317332" y="373063"/>
                      </a:moveTo>
                      <a:cubicBezTo>
                        <a:pt x="317332" y="373063"/>
                        <a:pt x="317332" y="373063"/>
                        <a:pt x="555793" y="373063"/>
                      </a:cubicBezTo>
                      <a:cubicBezTo>
                        <a:pt x="564360" y="373063"/>
                        <a:pt x="571500" y="379514"/>
                        <a:pt x="571500" y="389550"/>
                      </a:cubicBezTo>
                      <a:cubicBezTo>
                        <a:pt x="571500" y="389550"/>
                        <a:pt x="571500" y="389550"/>
                        <a:pt x="571500" y="638281"/>
                      </a:cubicBezTo>
                      <a:cubicBezTo>
                        <a:pt x="571500" y="647600"/>
                        <a:pt x="564360" y="654051"/>
                        <a:pt x="555793" y="654051"/>
                      </a:cubicBezTo>
                      <a:cubicBezTo>
                        <a:pt x="555793" y="654051"/>
                        <a:pt x="555793" y="654051"/>
                        <a:pt x="317332" y="654051"/>
                      </a:cubicBezTo>
                      <a:cubicBezTo>
                        <a:pt x="308050" y="654051"/>
                        <a:pt x="301625" y="647600"/>
                        <a:pt x="301625" y="638281"/>
                      </a:cubicBezTo>
                      <a:cubicBezTo>
                        <a:pt x="301625" y="638281"/>
                        <a:pt x="301625" y="638281"/>
                        <a:pt x="301625" y="389550"/>
                      </a:cubicBezTo>
                      <a:cubicBezTo>
                        <a:pt x="301625" y="379514"/>
                        <a:pt x="308050" y="373063"/>
                        <a:pt x="317332" y="373063"/>
                      </a:cubicBezTo>
                      <a:close/>
                      <a:moveTo>
                        <a:pt x="618957" y="182563"/>
                      </a:moveTo>
                      <a:cubicBezTo>
                        <a:pt x="618957" y="182563"/>
                        <a:pt x="618957" y="182563"/>
                        <a:pt x="857418" y="182563"/>
                      </a:cubicBezTo>
                      <a:cubicBezTo>
                        <a:pt x="866699" y="182563"/>
                        <a:pt x="873125" y="189718"/>
                        <a:pt x="873125" y="198303"/>
                      </a:cubicBezTo>
                      <a:cubicBezTo>
                        <a:pt x="873125" y="198303"/>
                        <a:pt x="873125" y="198303"/>
                        <a:pt x="873125" y="638311"/>
                      </a:cubicBezTo>
                      <a:cubicBezTo>
                        <a:pt x="873125" y="647612"/>
                        <a:pt x="866699" y="654051"/>
                        <a:pt x="857418" y="654051"/>
                      </a:cubicBezTo>
                      <a:cubicBezTo>
                        <a:pt x="857418" y="654051"/>
                        <a:pt x="857418" y="654051"/>
                        <a:pt x="618957" y="654051"/>
                      </a:cubicBezTo>
                      <a:cubicBezTo>
                        <a:pt x="610389" y="654051"/>
                        <a:pt x="603250" y="647612"/>
                        <a:pt x="603250" y="638311"/>
                      </a:cubicBezTo>
                      <a:cubicBezTo>
                        <a:pt x="603250" y="638311"/>
                        <a:pt x="603250" y="638311"/>
                        <a:pt x="603250" y="198303"/>
                      </a:cubicBezTo>
                      <a:cubicBezTo>
                        <a:pt x="603250" y="189718"/>
                        <a:pt x="610389" y="182563"/>
                        <a:pt x="618957" y="182563"/>
                      </a:cubicBezTo>
                      <a:close/>
                      <a:moveTo>
                        <a:pt x="922203" y="0"/>
                      </a:moveTo>
                      <a:cubicBezTo>
                        <a:pt x="922203" y="0"/>
                        <a:pt x="922203" y="0"/>
                        <a:pt x="1159727" y="0"/>
                      </a:cubicBezTo>
                      <a:cubicBezTo>
                        <a:pt x="1168312" y="0"/>
                        <a:pt x="1174751" y="7148"/>
                        <a:pt x="1174751" y="15726"/>
                      </a:cubicBezTo>
                      <a:cubicBezTo>
                        <a:pt x="1174751" y="15726"/>
                        <a:pt x="1174751" y="15726"/>
                        <a:pt x="1174751" y="638324"/>
                      </a:cubicBezTo>
                      <a:cubicBezTo>
                        <a:pt x="1174751" y="647617"/>
                        <a:pt x="1168312" y="654050"/>
                        <a:pt x="1159727" y="654050"/>
                      </a:cubicBezTo>
                      <a:cubicBezTo>
                        <a:pt x="1159727" y="654050"/>
                        <a:pt x="1159727" y="654050"/>
                        <a:pt x="922203" y="654050"/>
                      </a:cubicBezTo>
                      <a:cubicBezTo>
                        <a:pt x="912902" y="654050"/>
                        <a:pt x="906463" y="647617"/>
                        <a:pt x="906463" y="638324"/>
                      </a:cubicBezTo>
                      <a:cubicBezTo>
                        <a:pt x="906463" y="638324"/>
                        <a:pt x="906463" y="638324"/>
                        <a:pt x="906463" y="15726"/>
                      </a:cubicBezTo>
                      <a:cubicBezTo>
                        <a:pt x="906463" y="7148"/>
                        <a:pt x="912902" y="0"/>
                        <a:pt x="92220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spTree>
    <p:extLst>
      <p:ext uri="{BB962C8B-B14F-4D97-AF65-F5344CB8AC3E}">
        <p14:creationId xmlns:p14="http://schemas.microsoft.com/office/powerpoint/2010/main" val="3696861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61693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29"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3" name="Title 2"/>
          <p:cNvSpPr>
            <a:spLocks noGrp="1"/>
          </p:cNvSpPr>
          <p:nvPr>
            <p:ph type="title"/>
          </p:nvPr>
        </p:nvSpPr>
        <p:spPr>
          <a:xfrm>
            <a:off x="630000" y="622800"/>
            <a:ext cx="10933200" cy="470898"/>
          </a:xfrm>
        </p:spPr>
        <p:txBody>
          <a:bodyPr vert="horz"/>
          <a:lstStyle/>
          <a:p>
            <a:r>
              <a:rPr lang="fr-FR" dirty="0"/>
              <a:t>Présentation du </a:t>
            </a:r>
            <a:r>
              <a:rPr lang="fr-FR" dirty="0" err="1"/>
              <a:t>datathon</a:t>
            </a:r>
            <a:endParaRPr lang="fr-FR" dirty="0"/>
          </a:p>
        </p:txBody>
      </p:sp>
      <p:sp>
        <p:nvSpPr>
          <p:cNvPr id="11" name="ee4pContent1"/>
          <p:cNvSpPr txBox="1"/>
          <p:nvPr/>
        </p:nvSpPr>
        <p:spPr>
          <a:xfrm>
            <a:off x="629400" y="3553054"/>
            <a:ext cx="4995640" cy="312603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2700" lvl="1" indent="-12700">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 </a:t>
            </a:r>
            <a:r>
              <a:rPr lang="fr-FR" sz="1600" dirty="0" err="1">
                <a:solidFill>
                  <a:schemeClr val="tx1">
                    <a:lumMod val="100000"/>
                  </a:schemeClr>
                </a:solidFill>
                <a:latin typeface="Trebuchet MS" panose="020B0703020202090204" pitchFamily="34" charset="0"/>
              </a:rPr>
              <a:t>LivraisonCo</a:t>
            </a:r>
            <a:r>
              <a:rPr lang="fr-FR" sz="1600" dirty="0">
                <a:solidFill>
                  <a:schemeClr val="tx1">
                    <a:lumMod val="100000"/>
                  </a:schemeClr>
                </a:solidFill>
                <a:latin typeface="Trebuchet MS" panose="020B0703020202090204" pitchFamily="34" charset="0"/>
              </a:rPr>
              <a:t> est une entreprise française privée de livraison opérant principalement en région parisienne</a:t>
            </a:r>
          </a:p>
          <a:p>
            <a:endParaRPr lang="fr-FR" sz="1600" dirty="0"/>
          </a:p>
          <a:p>
            <a:pPr marL="12700" lvl="1" indent="-12700">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 Le CEO de </a:t>
            </a:r>
            <a:r>
              <a:rPr lang="fr-FR" sz="1600" dirty="0" err="1">
                <a:solidFill>
                  <a:schemeClr val="tx1">
                    <a:lumMod val="100000"/>
                  </a:schemeClr>
                </a:solidFill>
                <a:latin typeface="Trebuchet MS" panose="020B0703020202090204" pitchFamily="34" charset="0"/>
              </a:rPr>
              <a:t>LivraisonCo</a:t>
            </a:r>
            <a:r>
              <a:rPr lang="fr-FR" sz="1600" dirty="0">
                <a:solidFill>
                  <a:schemeClr val="tx1">
                    <a:lumMod val="100000"/>
                  </a:schemeClr>
                </a:solidFill>
                <a:latin typeface="Trebuchet MS" panose="020B0703020202090204" pitchFamily="34" charset="0"/>
              </a:rPr>
              <a:t> souhaite optimiser son processus de livraison (</a:t>
            </a:r>
            <a:r>
              <a:rPr lang="fr-FR" sz="1600" dirty="0" err="1">
                <a:solidFill>
                  <a:schemeClr val="tx1">
                    <a:lumMod val="100000"/>
                  </a:schemeClr>
                </a:solidFill>
                <a:latin typeface="Trebuchet MS" panose="020B0703020202090204" pitchFamily="34" charset="0"/>
              </a:rPr>
              <a:t>e.g</a:t>
            </a:r>
            <a:r>
              <a:rPr lang="fr-FR" sz="1600" dirty="0">
                <a:solidFill>
                  <a:schemeClr val="tx1">
                    <a:lumMod val="100000"/>
                  </a:schemeClr>
                </a:solidFill>
                <a:latin typeface="Trebuchet MS" panose="020B0703020202090204" pitchFamily="34" charset="0"/>
              </a:rPr>
              <a:t>. livrer plus de colis en un temps réduit, en limitant les coûts) d’une semaine sur l’autre </a:t>
            </a:r>
          </a:p>
          <a:p>
            <a:pPr marL="12700" lvl="1" indent="-12700">
              <a:buClr>
                <a:schemeClr val="tx2">
                  <a:lumMod val="100000"/>
                </a:schemeClr>
              </a:buClr>
              <a:buSzPct val="100000"/>
              <a:buFont typeface="Trebuchet MS" panose="020B0703020202090204" pitchFamily="34" charset="0"/>
              <a:buChar char="•"/>
            </a:pPr>
            <a:endParaRPr lang="fr-FR" sz="1600" dirty="0">
              <a:solidFill>
                <a:schemeClr val="tx1">
                  <a:lumMod val="100000"/>
                </a:schemeClr>
              </a:solidFill>
              <a:latin typeface="Trebuchet MS" panose="020B0703020202090204" pitchFamily="34" charset="0"/>
            </a:endParaRPr>
          </a:p>
          <a:p>
            <a:pPr marL="12700" lvl="1" indent="-12700">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 Selon le CEO, connaître à l’avance l’état du trafic serait un premier élément clé pour mieux définir ses créneaux de livraison pour la semaine suivante</a:t>
            </a:r>
          </a:p>
          <a:p>
            <a:pPr marL="12700" lvl="1" indent="-12700">
              <a:buClr>
                <a:schemeClr val="tx2">
                  <a:lumMod val="100000"/>
                </a:schemeClr>
              </a:buClr>
              <a:buSzPct val="100000"/>
              <a:buFont typeface="Trebuchet MS" panose="020B0703020202090204" pitchFamily="34" charset="0"/>
              <a:buChar char="•"/>
            </a:pPr>
            <a:endParaRPr lang="fr-FR" sz="1600" dirty="0">
              <a:solidFill>
                <a:schemeClr val="tx1">
                  <a:lumMod val="100000"/>
                </a:schemeClr>
              </a:solidFill>
              <a:latin typeface="Trebuchet MS" panose="020B0703020202090204" pitchFamily="34" charset="0"/>
            </a:endParaRPr>
          </a:p>
          <a:p>
            <a:endParaRPr lang="fr-FR" sz="1600" dirty="0"/>
          </a:p>
          <a:p>
            <a:pPr marL="108000" lvl="1" indent="0">
              <a:buClr>
                <a:schemeClr val="tx2">
                  <a:lumMod val="100000"/>
                </a:schemeClr>
              </a:buClr>
              <a:buSzPct val="100000"/>
              <a:buNone/>
            </a:pPr>
            <a:endParaRPr lang="fr-FR" sz="1600" dirty="0">
              <a:solidFill>
                <a:schemeClr val="tx1">
                  <a:lumMod val="100000"/>
                </a:schemeClr>
              </a:solidFill>
            </a:endParaRPr>
          </a:p>
        </p:txBody>
      </p:sp>
      <p:sp>
        <p:nvSpPr>
          <p:cNvPr id="12" name="ee4pContent2"/>
          <p:cNvSpPr txBox="1"/>
          <p:nvPr/>
        </p:nvSpPr>
        <p:spPr>
          <a:xfrm>
            <a:off x="6567560" y="3553054"/>
            <a:ext cx="4857303" cy="292725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lvl="1" indent="0">
              <a:buClr>
                <a:schemeClr val="tx2">
                  <a:lumMod val="100000"/>
                </a:schemeClr>
              </a:buClr>
              <a:buSzPct val="100000"/>
              <a:buNone/>
            </a:pPr>
            <a:r>
              <a:rPr lang="fr-FR" sz="1600" dirty="0">
                <a:solidFill>
                  <a:schemeClr val="tx1">
                    <a:lumMod val="100000"/>
                  </a:schemeClr>
                </a:solidFill>
                <a:latin typeface="Trebuchet MS" panose="020B0703020202090204" pitchFamily="34" charset="0"/>
              </a:rPr>
              <a:t>BCG GAMMA commence la phase 1 du projet qui comporte 2 livrables: </a:t>
            </a:r>
          </a:p>
          <a:p>
            <a:pPr marL="0" lvl="1" indent="0">
              <a:buClr>
                <a:schemeClr val="tx2">
                  <a:lumMod val="100000"/>
                </a:schemeClr>
              </a:buClr>
              <a:buSzPct val="100000"/>
              <a:buNone/>
            </a:pPr>
            <a:endParaRPr lang="fr-FR" sz="1600" dirty="0">
              <a:solidFill>
                <a:schemeClr val="tx1">
                  <a:lumMod val="100000"/>
                </a:schemeClr>
              </a:solidFill>
              <a:latin typeface="Trebuchet MS" panose="020B0703020202090204" pitchFamily="34" charset="0"/>
            </a:endParaRPr>
          </a:p>
          <a:p>
            <a:pPr marL="336700" lvl="2" indent="-12700">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 Le développement d’un algorithme de prédiction du trafic routier sur différents axes à Paris</a:t>
            </a:r>
          </a:p>
          <a:p>
            <a:pPr marL="336700" lvl="2" indent="-12700">
              <a:buClr>
                <a:schemeClr val="tx2">
                  <a:lumMod val="100000"/>
                </a:schemeClr>
              </a:buClr>
              <a:buSzPct val="100000"/>
              <a:buFont typeface="Trebuchet MS" panose="020B0703020202090204" pitchFamily="34" charset="0"/>
              <a:buChar char="•"/>
            </a:pPr>
            <a:endParaRPr lang="fr-FR" sz="1600" dirty="0">
              <a:solidFill>
                <a:schemeClr val="tx1">
                  <a:lumMod val="100000"/>
                </a:schemeClr>
              </a:solidFill>
              <a:latin typeface="Trebuchet MS" panose="020B0703020202090204" pitchFamily="34" charset="0"/>
            </a:endParaRPr>
          </a:p>
          <a:p>
            <a:pPr marL="336700" lvl="2" indent="-12700">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 Une présentation expliquant l’approche et les résultats de l’algorithme de prédiction du trafic routier, ainsi qu’une feuille de route de la suite du projet</a:t>
            </a:r>
          </a:p>
          <a:p>
            <a:pPr marL="108000" lvl="1" indent="0">
              <a:buClr>
                <a:schemeClr val="tx2">
                  <a:lumMod val="100000"/>
                </a:schemeClr>
              </a:buClr>
              <a:buSzPct val="100000"/>
              <a:buNone/>
            </a:pPr>
            <a:endParaRPr lang="fr-FR" sz="1600" dirty="0">
              <a:solidFill>
                <a:schemeClr val="tx1">
                  <a:lumMod val="100000"/>
                </a:schemeClr>
              </a:solidFill>
              <a:latin typeface="Trebuchet MS" panose="020B0703020202090204" pitchFamily="34" charset="0"/>
            </a:endParaRPr>
          </a:p>
        </p:txBody>
      </p:sp>
      <p:sp>
        <p:nvSpPr>
          <p:cNvPr id="20" name="ee4pHeader1"/>
          <p:cNvSpPr txBox="1"/>
          <p:nvPr/>
        </p:nvSpPr>
        <p:spPr>
          <a:xfrm>
            <a:off x="630000" y="2307948"/>
            <a:ext cx="4995640" cy="658368"/>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Le Client</a:t>
            </a:r>
          </a:p>
        </p:txBody>
      </p:sp>
      <p:sp>
        <p:nvSpPr>
          <p:cNvPr id="21" name="ee4pHeader2"/>
          <p:cNvSpPr txBox="1"/>
          <p:nvPr/>
        </p:nvSpPr>
        <p:spPr>
          <a:xfrm>
            <a:off x="6567560" y="2307948"/>
            <a:ext cx="4995640" cy="658368"/>
          </a:xfrm>
          <a:prstGeom prst="rect">
            <a:avLst/>
          </a:prstGeom>
          <a:noFill/>
          <a:ln cap="rnd">
            <a:noFill/>
          </a:ln>
        </p:spPr>
        <p:txBody>
          <a:bodyPr wrap="square" lIns="0" tIns="0" rIns="0" bIns="0" rtlCol="0" anchor="b" anchorCtr="0">
            <a:noAutofit/>
          </a:bodyPr>
          <a:lstStyle/>
          <a:p>
            <a:pPr marL="0" lvl="3"/>
            <a:r>
              <a:rPr lang="fr-FR" sz="2400" dirty="0">
                <a:solidFill>
                  <a:schemeClr val="tx2"/>
                </a:solidFill>
              </a:rPr>
              <a:t>La Mission</a:t>
            </a:r>
          </a:p>
        </p:txBody>
      </p:sp>
      <p:grpSp>
        <p:nvGrpSpPr>
          <p:cNvPr id="34" name="Group 33">
            <a:extLst>
              <a:ext uri="{FF2B5EF4-FFF2-40B4-BE49-F238E27FC236}">
                <a16:creationId xmlns:a16="http://schemas.microsoft.com/office/drawing/2014/main" id="{544EF120-3E6E-7C46-8E45-342B854E5560}"/>
              </a:ext>
            </a:extLst>
          </p:cNvPr>
          <p:cNvGrpSpPr>
            <a:grpSpLocks noChangeAspect="1"/>
          </p:cNvGrpSpPr>
          <p:nvPr/>
        </p:nvGrpSpPr>
        <p:grpSpPr>
          <a:xfrm>
            <a:off x="462408" y="1748180"/>
            <a:ext cx="844617" cy="844617"/>
            <a:chOff x="5272088" y="2570163"/>
            <a:chExt cx="1646237" cy="1646237"/>
          </a:xfrm>
        </p:grpSpPr>
        <p:sp>
          <p:nvSpPr>
            <p:cNvPr id="36" name="AutoShape 3">
              <a:extLst>
                <a:ext uri="{FF2B5EF4-FFF2-40B4-BE49-F238E27FC236}">
                  <a16:creationId xmlns:a16="http://schemas.microsoft.com/office/drawing/2014/main" id="{7D152664-3A1C-8144-9E55-F414A921FD31}"/>
                </a:ext>
              </a:extLst>
            </p:cNvPr>
            <p:cNvSpPr>
              <a:spLocks noChangeAspect="1" noChangeArrowheads="1" noTextEdit="1"/>
            </p:cNvSpPr>
            <p:nvPr/>
          </p:nvSpPr>
          <p:spPr bwMode="auto">
            <a:xfrm>
              <a:off x="5272088" y="2570163"/>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7" name="Group 46">
              <a:extLst>
                <a:ext uri="{FF2B5EF4-FFF2-40B4-BE49-F238E27FC236}">
                  <a16:creationId xmlns:a16="http://schemas.microsoft.com/office/drawing/2014/main" id="{407BB48D-C502-B247-BDE0-0BA51AD06852}"/>
                </a:ext>
              </a:extLst>
            </p:cNvPr>
            <p:cNvGrpSpPr/>
            <p:nvPr/>
          </p:nvGrpSpPr>
          <p:grpSpPr>
            <a:xfrm>
              <a:off x="5629274" y="2743199"/>
              <a:ext cx="954088" cy="1347788"/>
              <a:chOff x="5629274" y="2743199"/>
              <a:chExt cx="954088" cy="1347788"/>
            </a:xfrm>
          </p:grpSpPr>
          <p:sp>
            <p:nvSpPr>
              <p:cNvPr id="48" name="Freeform 47">
                <a:extLst>
                  <a:ext uri="{FF2B5EF4-FFF2-40B4-BE49-F238E27FC236}">
                    <a16:creationId xmlns:a16="http://schemas.microsoft.com/office/drawing/2014/main" id="{028D645D-C65E-994B-8150-D5A0C51F729C}"/>
                  </a:ext>
                </a:extLst>
              </p:cNvPr>
              <p:cNvSpPr>
                <a:spLocks/>
              </p:cNvSpPr>
              <p:nvPr/>
            </p:nvSpPr>
            <p:spPr bwMode="auto">
              <a:xfrm>
                <a:off x="5697538" y="2743199"/>
                <a:ext cx="815975" cy="1052512"/>
              </a:xfrm>
              <a:custGeom>
                <a:avLst/>
                <a:gdLst>
                  <a:gd name="connsiteX0" fmla="*/ 323850 w 815975"/>
                  <a:gd name="connsiteY0" fmla="*/ 812800 h 1052512"/>
                  <a:gd name="connsiteX1" fmla="*/ 492125 w 815975"/>
                  <a:gd name="connsiteY1" fmla="*/ 812800 h 1052512"/>
                  <a:gd name="connsiteX2" fmla="*/ 492125 w 815975"/>
                  <a:gd name="connsiteY2" fmla="*/ 828675 h 1052512"/>
                  <a:gd name="connsiteX3" fmla="*/ 492125 w 815975"/>
                  <a:gd name="connsiteY3" fmla="*/ 838200 h 1052512"/>
                  <a:gd name="connsiteX4" fmla="*/ 492125 w 815975"/>
                  <a:gd name="connsiteY4" fmla="*/ 844550 h 1052512"/>
                  <a:gd name="connsiteX5" fmla="*/ 492125 w 815975"/>
                  <a:gd name="connsiteY5" fmla="*/ 846138 h 1052512"/>
                  <a:gd name="connsiteX6" fmla="*/ 492125 w 815975"/>
                  <a:gd name="connsiteY6" fmla="*/ 854075 h 1052512"/>
                  <a:gd name="connsiteX7" fmla="*/ 492125 w 815975"/>
                  <a:gd name="connsiteY7" fmla="*/ 855663 h 1052512"/>
                  <a:gd name="connsiteX8" fmla="*/ 492125 w 815975"/>
                  <a:gd name="connsiteY8" fmla="*/ 1052512 h 1052512"/>
                  <a:gd name="connsiteX9" fmla="*/ 411163 w 815975"/>
                  <a:gd name="connsiteY9" fmla="*/ 968375 h 1052512"/>
                  <a:gd name="connsiteX10" fmla="*/ 323850 w 815975"/>
                  <a:gd name="connsiteY10" fmla="*/ 1052512 h 1052512"/>
                  <a:gd name="connsiteX11" fmla="*/ 323850 w 815975"/>
                  <a:gd name="connsiteY11" fmla="*/ 855663 h 1052512"/>
                  <a:gd name="connsiteX12" fmla="*/ 323850 w 815975"/>
                  <a:gd name="connsiteY12" fmla="*/ 854075 h 1052512"/>
                  <a:gd name="connsiteX13" fmla="*/ 323850 w 815975"/>
                  <a:gd name="connsiteY13" fmla="*/ 846138 h 1052512"/>
                  <a:gd name="connsiteX14" fmla="*/ 323850 w 815975"/>
                  <a:gd name="connsiteY14" fmla="*/ 844550 h 1052512"/>
                  <a:gd name="connsiteX15" fmla="*/ 323850 w 815975"/>
                  <a:gd name="connsiteY15" fmla="*/ 838200 h 1052512"/>
                  <a:gd name="connsiteX16" fmla="*/ 323850 w 815975"/>
                  <a:gd name="connsiteY16" fmla="*/ 828675 h 1052512"/>
                  <a:gd name="connsiteX17" fmla="*/ 542450 w 815975"/>
                  <a:gd name="connsiteY17" fmla="*/ 661988 h 1052512"/>
                  <a:gd name="connsiteX18" fmla="*/ 570950 w 815975"/>
                  <a:gd name="connsiteY18" fmla="*/ 732491 h 1052512"/>
                  <a:gd name="connsiteX19" fmla="*/ 563112 w 815975"/>
                  <a:gd name="connsiteY19" fmla="*/ 735340 h 1052512"/>
                  <a:gd name="connsiteX20" fmla="*/ 482600 w 815975"/>
                  <a:gd name="connsiteY20" fmla="*/ 704005 h 1052512"/>
                  <a:gd name="connsiteX21" fmla="*/ 502550 w 815975"/>
                  <a:gd name="connsiteY21" fmla="*/ 679080 h 1052512"/>
                  <a:gd name="connsiteX22" fmla="*/ 506825 w 815975"/>
                  <a:gd name="connsiteY22" fmla="*/ 673383 h 1052512"/>
                  <a:gd name="connsiteX23" fmla="*/ 514663 w 815975"/>
                  <a:gd name="connsiteY23" fmla="*/ 670534 h 1052512"/>
                  <a:gd name="connsiteX24" fmla="*/ 542450 w 815975"/>
                  <a:gd name="connsiteY24" fmla="*/ 661988 h 1052512"/>
                  <a:gd name="connsiteX25" fmla="*/ 273525 w 815975"/>
                  <a:gd name="connsiteY25" fmla="*/ 661988 h 1052512"/>
                  <a:gd name="connsiteX26" fmla="*/ 302024 w 815975"/>
                  <a:gd name="connsiteY26" fmla="*/ 670534 h 1052512"/>
                  <a:gd name="connsiteX27" fmla="*/ 309149 w 815975"/>
                  <a:gd name="connsiteY27" fmla="*/ 673383 h 1052512"/>
                  <a:gd name="connsiteX28" fmla="*/ 314137 w 815975"/>
                  <a:gd name="connsiteY28" fmla="*/ 679080 h 1052512"/>
                  <a:gd name="connsiteX29" fmla="*/ 333374 w 815975"/>
                  <a:gd name="connsiteY29" fmla="*/ 704005 h 1052512"/>
                  <a:gd name="connsiteX30" fmla="*/ 252862 w 815975"/>
                  <a:gd name="connsiteY30" fmla="*/ 735340 h 1052512"/>
                  <a:gd name="connsiteX31" fmla="*/ 245025 w 815975"/>
                  <a:gd name="connsiteY31" fmla="*/ 732491 h 1052512"/>
                  <a:gd name="connsiteX32" fmla="*/ 273525 w 815975"/>
                  <a:gd name="connsiteY32" fmla="*/ 661988 h 1052512"/>
                  <a:gd name="connsiteX33" fmla="*/ 548516 w 815975"/>
                  <a:gd name="connsiteY33" fmla="*/ 639763 h 1052512"/>
                  <a:gd name="connsiteX34" fmla="*/ 729675 w 815975"/>
                  <a:gd name="connsiteY34" fmla="*/ 671002 h 1052512"/>
                  <a:gd name="connsiteX35" fmla="*/ 815975 w 815975"/>
                  <a:gd name="connsiteY35" fmla="*/ 781050 h 1052512"/>
                  <a:gd name="connsiteX36" fmla="*/ 492884 w 815975"/>
                  <a:gd name="connsiteY36" fmla="*/ 781050 h 1052512"/>
                  <a:gd name="connsiteX37" fmla="*/ 422275 w 815975"/>
                  <a:gd name="connsiteY37" fmla="*/ 781050 h 1052512"/>
                  <a:gd name="connsiteX38" fmla="*/ 468635 w 815975"/>
                  <a:gd name="connsiteY38" fmla="*/ 722121 h 1052512"/>
                  <a:gd name="connsiteX39" fmla="*/ 549229 w 815975"/>
                  <a:gd name="connsiteY39" fmla="*/ 749101 h 1052512"/>
                  <a:gd name="connsiteX40" fmla="*/ 567060 w 815975"/>
                  <a:gd name="connsiteY40" fmla="*/ 756201 h 1052512"/>
                  <a:gd name="connsiteX41" fmla="*/ 591309 w 815975"/>
                  <a:gd name="connsiteY41" fmla="*/ 732771 h 1052512"/>
                  <a:gd name="connsiteX42" fmla="*/ 555648 w 815975"/>
                  <a:gd name="connsiteY42" fmla="*/ 646153 h 1052512"/>
                  <a:gd name="connsiteX43" fmla="*/ 548516 w 815975"/>
                  <a:gd name="connsiteY43" fmla="*/ 639763 h 1052512"/>
                  <a:gd name="connsiteX44" fmla="*/ 267459 w 815975"/>
                  <a:gd name="connsiteY44" fmla="*/ 639763 h 1052512"/>
                  <a:gd name="connsiteX45" fmla="*/ 260327 w 815975"/>
                  <a:gd name="connsiteY45" fmla="*/ 646153 h 1052512"/>
                  <a:gd name="connsiteX46" fmla="*/ 224666 w 815975"/>
                  <a:gd name="connsiteY46" fmla="*/ 732771 h 1052512"/>
                  <a:gd name="connsiteX47" fmla="*/ 249629 w 815975"/>
                  <a:gd name="connsiteY47" fmla="*/ 756201 h 1052512"/>
                  <a:gd name="connsiteX48" fmla="*/ 266746 w 815975"/>
                  <a:gd name="connsiteY48" fmla="*/ 749101 h 1052512"/>
                  <a:gd name="connsiteX49" fmla="*/ 348054 w 815975"/>
                  <a:gd name="connsiteY49" fmla="*/ 722121 h 1052512"/>
                  <a:gd name="connsiteX50" fmla="*/ 393700 w 815975"/>
                  <a:gd name="connsiteY50" fmla="*/ 781050 h 1052512"/>
                  <a:gd name="connsiteX51" fmla="*/ 323091 w 815975"/>
                  <a:gd name="connsiteY51" fmla="*/ 781050 h 1052512"/>
                  <a:gd name="connsiteX52" fmla="*/ 0 w 815975"/>
                  <a:gd name="connsiteY52" fmla="*/ 781050 h 1052512"/>
                  <a:gd name="connsiteX53" fmla="*/ 86300 w 815975"/>
                  <a:gd name="connsiteY53" fmla="*/ 671002 h 1052512"/>
                  <a:gd name="connsiteX54" fmla="*/ 267459 w 815975"/>
                  <a:gd name="connsiteY54" fmla="*/ 639763 h 1052512"/>
                  <a:gd name="connsiteX55" fmla="*/ 625646 w 815975"/>
                  <a:gd name="connsiteY55" fmla="*/ 317500 h 1052512"/>
                  <a:gd name="connsiteX56" fmla="*/ 629963 w 815975"/>
                  <a:gd name="connsiteY56" fmla="*/ 333868 h 1052512"/>
                  <a:gd name="connsiteX57" fmla="*/ 614133 w 815975"/>
                  <a:gd name="connsiteY57" fmla="*/ 371584 h 1052512"/>
                  <a:gd name="connsiteX58" fmla="*/ 613414 w 815975"/>
                  <a:gd name="connsiteY58" fmla="*/ 372296 h 1052512"/>
                  <a:gd name="connsiteX59" fmla="*/ 586073 w 815975"/>
                  <a:gd name="connsiteY59" fmla="*/ 379412 h 1052512"/>
                  <a:gd name="connsiteX60" fmla="*/ 573121 w 815975"/>
                  <a:gd name="connsiteY60" fmla="*/ 376566 h 1052512"/>
                  <a:gd name="connsiteX61" fmla="*/ 534987 w 815975"/>
                  <a:gd name="connsiteY61" fmla="*/ 340272 h 1052512"/>
                  <a:gd name="connsiteX62" fmla="*/ 555853 w 815975"/>
                  <a:gd name="connsiteY62" fmla="*/ 336003 h 1052512"/>
                  <a:gd name="connsiteX63" fmla="*/ 625646 w 815975"/>
                  <a:gd name="connsiteY63" fmla="*/ 317500 h 1052512"/>
                  <a:gd name="connsiteX64" fmla="*/ 188912 w 815975"/>
                  <a:gd name="connsiteY64" fmla="*/ 317500 h 1052512"/>
                  <a:gd name="connsiteX65" fmla="*/ 220662 w 815975"/>
                  <a:gd name="connsiteY65" fmla="*/ 328216 h 1052512"/>
                  <a:gd name="connsiteX66" fmla="*/ 209619 w 815975"/>
                  <a:gd name="connsiteY66" fmla="*/ 354647 h 1052512"/>
                  <a:gd name="connsiteX67" fmla="*/ 202717 w 815975"/>
                  <a:gd name="connsiteY67" fmla="*/ 360362 h 1052512"/>
                  <a:gd name="connsiteX68" fmla="*/ 197885 w 815975"/>
                  <a:gd name="connsiteY68" fmla="*/ 358219 h 1052512"/>
                  <a:gd name="connsiteX69" fmla="*/ 195814 w 815975"/>
                  <a:gd name="connsiteY69" fmla="*/ 354647 h 1052512"/>
                  <a:gd name="connsiteX70" fmla="*/ 188912 w 815975"/>
                  <a:gd name="connsiteY70" fmla="*/ 317500 h 1052512"/>
                  <a:gd name="connsiteX71" fmla="*/ 168908 w 815975"/>
                  <a:gd name="connsiteY71" fmla="*/ 241300 h 1052512"/>
                  <a:gd name="connsiteX72" fmla="*/ 174622 w 815975"/>
                  <a:gd name="connsiteY72" fmla="*/ 242009 h 1052512"/>
                  <a:gd name="connsiteX73" fmla="*/ 187479 w 815975"/>
                  <a:gd name="connsiteY73" fmla="*/ 243427 h 1052512"/>
                  <a:gd name="connsiteX74" fmla="*/ 262476 w 815975"/>
                  <a:gd name="connsiteY74" fmla="*/ 250517 h 1052512"/>
                  <a:gd name="connsiteX75" fmla="*/ 278904 w 815975"/>
                  <a:gd name="connsiteY75" fmla="*/ 251935 h 1052512"/>
                  <a:gd name="connsiteX76" fmla="*/ 298189 w 815975"/>
                  <a:gd name="connsiteY76" fmla="*/ 252644 h 1052512"/>
                  <a:gd name="connsiteX77" fmla="*/ 370330 w 815975"/>
                  <a:gd name="connsiteY77" fmla="*/ 255480 h 1052512"/>
                  <a:gd name="connsiteX78" fmla="*/ 403900 w 815975"/>
                  <a:gd name="connsiteY78" fmla="*/ 255480 h 1052512"/>
                  <a:gd name="connsiteX79" fmla="*/ 404614 w 815975"/>
                  <a:gd name="connsiteY79" fmla="*/ 255480 h 1052512"/>
                  <a:gd name="connsiteX80" fmla="*/ 430327 w 815975"/>
                  <a:gd name="connsiteY80" fmla="*/ 255480 h 1052512"/>
                  <a:gd name="connsiteX81" fmla="*/ 625320 w 815975"/>
                  <a:gd name="connsiteY81" fmla="*/ 243427 h 1052512"/>
                  <a:gd name="connsiteX82" fmla="*/ 638177 w 815975"/>
                  <a:gd name="connsiteY82" fmla="*/ 242009 h 1052512"/>
                  <a:gd name="connsiteX83" fmla="*/ 643891 w 815975"/>
                  <a:gd name="connsiteY83" fmla="*/ 241300 h 1052512"/>
                  <a:gd name="connsiteX84" fmla="*/ 648891 w 815975"/>
                  <a:gd name="connsiteY84" fmla="*/ 249099 h 1052512"/>
                  <a:gd name="connsiteX85" fmla="*/ 651748 w 815975"/>
                  <a:gd name="connsiteY85" fmla="*/ 263988 h 1052512"/>
                  <a:gd name="connsiteX86" fmla="*/ 651748 w 815975"/>
                  <a:gd name="connsiteY86" fmla="*/ 276040 h 1052512"/>
                  <a:gd name="connsiteX87" fmla="*/ 651748 w 815975"/>
                  <a:gd name="connsiteY87" fmla="*/ 280294 h 1052512"/>
                  <a:gd name="connsiteX88" fmla="*/ 638891 w 815975"/>
                  <a:gd name="connsiteY88" fmla="*/ 293765 h 1052512"/>
                  <a:gd name="connsiteX89" fmla="*/ 626749 w 815975"/>
                  <a:gd name="connsiteY89" fmla="*/ 298019 h 1052512"/>
                  <a:gd name="connsiteX90" fmla="*/ 626035 w 815975"/>
                  <a:gd name="connsiteY90" fmla="*/ 298019 h 1052512"/>
                  <a:gd name="connsiteX91" fmla="*/ 506753 w 815975"/>
                  <a:gd name="connsiteY91" fmla="*/ 312907 h 1052512"/>
                  <a:gd name="connsiteX92" fmla="*/ 488182 w 815975"/>
                  <a:gd name="connsiteY92" fmla="*/ 313616 h 1052512"/>
                  <a:gd name="connsiteX93" fmla="*/ 468897 w 815975"/>
                  <a:gd name="connsiteY93" fmla="*/ 313616 h 1052512"/>
                  <a:gd name="connsiteX94" fmla="*/ 406757 w 815975"/>
                  <a:gd name="connsiteY94" fmla="*/ 314325 h 1052512"/>
                  <a:gd name="connsiteX95" fmla="*/ 256762 w 815975"/>
                  <a:gd name="connsiteY95" fmla="*/ 309362 h 1052512"/>
                  <a:gd name="connsiteX96" fmla="*/ 243191 w 815975"/>
                  <a:gd name="connsiteY96" fmla="*/ 307944 h 1052512"/>
                  <a:gd name="connsiteX97" fmla="*/ 230335 w 815975"/>
                  <a:gd name="connsiteY97" fmla="*/ 306526 h 1052512"/>
                  <a:gd name="connsiteX98" fmla="*/ 198907 w 815975"/>
                  <a:gd name="connsiteY98" fmla="*/ 301563 h 1052512"/>
                  <a:gd name="connsiteX99" fmla="*/ 188193 w 815975"/>
                  <a:gd name="connsiteY99" fmla="*/ 298728 h 1052512"/>
                  <a:gd name="connsiteX100" fmla="*/ 187479 w 815975"/>
                  <a:gd name="connsiteY100" fmla="*/ 298019 h 1052512"/>
                  <a:gd name="connsiteX101" fmla="*/ 173908 w 815975"/>
                  <a:gd name="connsiteY101" fmla="*/ 293765 h 1052512"/>
                  <a:gd name="connsiteX102" fmla="*/ 173908 w 815975"/>
                  <a:gd name="connsiteY102" fmla="*/ 293056 h 1052512"/>
                  <a:gd name="connsiteX103" fmla="*/ 161765 w 815975"/>
                  <a:gd name="connsiteY103" fmla="*/ 280294 h 1052512"/>
                  <a:gd name="connsiteX104" fmla="*/ 166051 w 815975"/>
                  <a:gd name="connsiteY104" fmla="*/ 244136 h 1052512"/>
                  <a:gd name="connsiteX105" fmla="*/ 168908 w 815975"/>
                  <a:gd name="connsiteY105" fmla="*/ 241300 h 1052512"/>
                  <a:gd name="connsiteX106" fmla="*/ 405606 w 815975"/>
                  <a:gd name="connsiteY106" fmla="*/ 133350 h 1052512"/>
                  <a:gd name="connsiteX107" fmla="*/ 334962 w 815975"/>
                  <a:gd name="connsiteY107" fmla="*/ 169069 h 1052512"/>
                  <a:gd name="connsiteX108" fmla="*/ 405606 w 815975"/>
                  <a:gd name="connsiteY108" fmla="*/ 204788 h 1052512"/>
                  <a:gd name="connsiteX109" fmla="*/ 476250 w 815975"/>
                  <a:gd name="connsiteY109" fmla="*/ 169069 h 1052512"/>
                  <a:gd name="connsiteX110" fmla="*/ 405606 w 815975"/>
                  <a:gd name="connsiteY110" fmla="*/ 133350 h 1052512"/>
                  <a:gd name="connsiteX111" fmla="*/ 404065 w 815975"/>
                  <a:gd name="connsiteY111" fmla="*/ 0 h 1052512"/>
                  <a:gd name="connsiteX112" fmla="*/ 507458 w 815975"/>
                  <a:gd name="connsiteY112" fmla="*/ 22812 h 1052512"/>
                  <a:gd name="connsiteX113" fmla="*/ 635094 w 815975"/>
                  <a:gd name="connsiteY113" fmla="*/ 175363 h 1052512"/>
                  <a:gd name="connsiteX114" fmla="*/ 636520 w 815975"/>
                  <a:gd name="connsiteY114" fmla="*/ 182491 h 1052512"/>
                  <a:gd name="connsiteX115" fmla="*/ 637233 w 815975"/>
                  <a:gd name="connsiteY115" fmla="*/ 184630 h 1052512"/>
                  <a:gd name="connsiteX116" fmla="*/ 642937 w 815975"/>
                  <a:gd name="connsiteY116" fmla="*/ 209580 h 1052512"/>
                  <a:gd name="connsiteX117" fmla="*/ 639372 w 815975"/>
                  <a:gd name="connsiteY117" fmla="*/ 210293 h 1052512"/>
                  <a:gd name="connsiteX118" fmla="*/ 632241 w 815975"/>
                  <a:gd name="connsiteY118" fmla="*/ 211006 h 1052512"/>
                  <a:gd name="connsiteX119" fmla="*/ 619407 w 815975"/>
                  <a:gd name="connsiteY119" fmla="*/ 213144 h 1052512"/>
                  <a:gd name="connsiteX120" fmla="*/ 404065 w 815975"/>
                  <a:gd name="connsiteY120" fmla="*/ 223837 h 1052512"/>
                  <a:gd name="connsiteX121" fmla="*/ 357717 w 815975"/>
                  <a:gd name="connsiteY121" fmla="*/ 223837 h 1052512"/>
                  <a:gd name="connsiteX122" fmla="*/ 297821 w 815975"/>
                  <a:gd name="connsiteY122" fmla="*/ 221699 h 1052512"/>
                  <a:gd name="connsiteX123" fmla="*/ 191577 w 815975"/>
                  <a:gd name="connsiteY123" fmla="*/ 212431 h 1052512"/>
                  <a:gd name="connsiteX124" fmla="*/ 178742 w 815975"/>
                  <a:gd name="connsiteY124" fmla="*/ 211006 h 1052512"/>
                  <a:gd name="connsiteX125" fmla="*/ 173037 w 815975"/>
                  <a:gd name="connsiteY125" fmla="*/ 210293 h 1052512"/>
                  <a:gd name="connsiteX126" fmla="*/ 180168 w 815975"/>
                  <a:gd name="connsiteY126" fmla="*/ 184630 h 1052512"/>
                  <a:gd name="connsiteX127" fmla="*/ 180168 w 815975"/>
                  <a:gd name="connsiteY127" fmla="*/ 182491 h 1052512"/>
                  <a:gd name="connsiteX128" fmla="*/ 191577 w 815975"/>
                  <a:gd name="connsiteY128" fmla="*/ 142571 h 1052512"/>
                  <a:gd name="connsiteX129" fmla="*/ 304952 w 815975"/>
                  <a:gd name="connsiteY129" fmla="*/ 22812 h 1052512"/>
                  <a:gd name="connsiteX130" fmla="*/ 404065 w 815975"/>
                  <a:gd name="connsiteY130" fmla="*/ 0 h 105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15975" h="1052512">
                    <a:moveTo>
                      <a:pt x="323850" y="812800"/>
                    </a:moveTo>
                    <a:lnTo>
                      <a:pt x="492125" y="812800"/>
                    </a:lnTo>
                    <a:lnTo>
                      <a:pt x="492125" y="828675"/>
                    </a:lnTo>
                    <a:lnTo>
                      <a:pt x="492125" y="838200"/>
                    </a:lnTo>
                    <a:lnTo>
                      <a:pt x="492125" y="844550"/>
                    </a:lnTo>
                    <a:lnTo>
                      <a:pt x="492125" y="846138"/>
                    </a:lnTo>
                    <a:lnTo>
                      <a:pt x="492125" y="854075"/>
                    </a:lnTo>
                    <a:lnTo>
                      <a:pt x="492125" y="855663"/>
                    </a:lnTo>
                    <a:lnTo>
                      <a:pt x="492125" y="1052512"/>
                    </a:lnTo>
                    <a:lnTo>
                      <a:pt x="411163" y="968375"/>
                    </a:lnTo>
                    <a:lnTo>
                      <a:pt x="323850" y="1052512"/>
                    </a:lnTo>
                    <a:lnTo>
                      <a:pt x="323850" y="855663"/>
                    </a:lnTo>
                    <a:lnTo>
                      <a:pt x="323850" y="854075"/>
                    </a:lnTo>
                    <a:lnTo>
                      <a:pt x="323850" y="846138"/>
                    </a:lnTo>
                    <a:lnTo>
                      <a:pt x="323850" y="844550"/>
                    </a:lnTo>
                    <a:lnTo>
                      <a:pt x="323850" y="838200"/>
                    </a:lnTo>
                    <a:lnTo>
                      <a:pt x="323850" y="828675"/>
                    </a:lnTo>
                    <a:close/>
                    <a:moveTo>
                      <a:pt x="542450" y="661988"/>
                    </a:moveTo>
                    <a:cubicBezTo>
                      <a:pt x="542450" y="661988"/>
                      <a:pt x="573087" y="688338"/>
                      <a:pt x="570950" y="732491"/>
                    </a:cubicBezTo>
                    <a:cubicBezTo>
                      <a:pt x="570950" y="736052"/>
                      <a:pt x="565962" y="738188"/>
                      <a:pt x="563112" y="735340"/>
                    </a:cubicBezTo>
                    <a:cubicBezTo>
                      <a:pt x="553137" y="725369"/>
                      <a:pt x="529625" y="708990"/>
                      <a:pt x="482600" y="704005"/>
                    </a:cubicBezTo>
                    <a:cubicBezTo>
                      <a:pt x="482600" y="704005"/>
                      <a:pt x="482600" y="704005"/>
                      <a:pt x="502550" y="679080"/>
                    </a:cubicBezTo>
                    <a:cubicBezTo>
                      <a:pt x="502550" y="679080"/>
                      <a:pt x="502550" y="679080"/>
                      <a:pt x="506825" y="673383"/>
                    </a:cubicBezTo>
                    <a:lnTo>
                      <a:pt x="514663" y="670534"/>
                    </a:lnTo>
                    <a:cubicBezTo>
                      <a:pt x="514663" y="670534"/>
                      <a:pt x="514663" y="670534"/>
                      <a:pt x="542450" y="661988"/>
                    </a:cubicBezTo>
                    <a:close/>
                    <a:moveTo>
                      <a:pt x="273525" y="661988"/>
                    </a:moveTo>
                    <a:cubicBezTo>
                      <a:pt x="273525" y="661988"/>
                      <a:pt x="273525" y="661988"/>
                      <a:pt x="302024" y="670534"/>
                    </a:cubicBezTo>
                    <a:lnTo>
                      <a:pt x="309149" y="673383"/>
                    </a:lnTo>
                    <a:cubicBezTo>
                      <a:pt x="309149" y="673383"/>
                      <a:pt x="309149" y="673383"/>
                      <a:pt x="314137" y="679080"/>
                    </a:cubicBezTo>
                    <a:cubicBezTo>
                      <a:pt x="314137" y="679080"/>
                      <a:pt x="314137" y="679080"/>
                      <a:pt x="333374" y="704005"/>
                    </a:cubicBezTo>
                    <a:cubicBezTo>
                      <a:pt x="286350" y="708990"/>
                      <a:pt x="262837" y="725369"/>
                      <a:pt x="252862" y="735340"/>
                    </a:cubicBezTo>
                    <a:cubicBezTo>
                      <a:pt x="250012" y="738188"/>
                      <a:pt x="245737" y="736052"/>
                      <a:pt x="245025" y="732491"/>
                    </a:cubicBezTo>
                    <a:cubicBezTo>
                      <a:pt x="242887" y="688338"/>
                      <a:pt x="273525" y="661988"/>
                      <a:pt x="273525" y="661988"/>
                    </a:cubicBezTo>
                    <a:close/>
                    <a:moveTo>
                      <a:pt x="548516" y="639763"/>
                    </a:moveTo>
                    <a:cubicBezTo>
                      <a:pt x="564920" y="640473"/>
                      <a:pt x="670477" y="644023"/>
                      <a:pt x="729675" y="671002"/>
                    </a:cubicBezTo>
                    <a:cubicBezTo>
                      <a:pt x="767476" y="688042"/>
                      <a:pt x="797431" y="740581"/>
                      <a:pt x="815975" y="781050"/>
                    </a:cubicBezTo>
                    <a:cubicBezTo>
                      <a:pt x="815975" y="781050"/>
                      <a:pt x="815975" y="781050"/>
                      <a:pt x="492884" y="781050"/>
                    </a:cubicBezTo>
                    <a:cubicBezTo>
                      <a:pt x="492884" y="781050"/>
                      <a:pt x="492884" y="781050"/>
                      <a:pt x="422275" y="781050"/>
                    </a:cubicBezTo>
                    <a:cubicBezTo>
                      <a:pt x="422275" y="781050"/>
                      <a:pt x="422275" y="781050"/>
                      <a:pt x="468635" y="722121"/>
                    </a:cubicBezTo>
                    <a:cubicBezTo>
                      <a:pt x="519274" y="725671"/>
                      <a:pt x="542097" y="742001"/>
                      <a:pt x="549229" y="749101"/>
                    </a:cubicBezTo>
                    <a:cubicBezTo>
                      <a:pt x="554222" y="754071"/>
                      <a:pt x="560641" y="756201"/>
                      <a:pt x="567060" y="756201"/>
                    </a:cubicBezTo>
                    <a:cubicBezTo>
                      <a:pt x="579898" y="756201"/>
                      <a:pt x="590596" y="746261"/>
                      <a:pt x="591309" y="732771"/>
                    </a:cubicBezTo>
                    <a:cubicBezTo>
                      <a:pt x="594162" y="680232"/>
                      <a:pt x="557788" y="647573"/>
                      <a:pt x="555648" y="646153"/>
                    </a:cubicBezTo>
                    <a:cubicBezTo>
                      <a:pt x="555648" y="646153"/>
                      <a:pt x="555648" y="646153"/>
                      <a:pt x="548516" y="639763"/>
                    </a:cubicBezTo>
                    <a:close/>
                    <a:moveTo>
                      <a:pt x="267459" y="639763"/>
                    </a:moveTo>
                    <a:cubicBezTo>
                      <a:pt x="267459" y="639763"/>
                      <a:pt x="267459" y="639763"/>
                      <a:pt x="260327" y="646153"/>
                    </a:cubicBezTo>
                    <a:cubicBezTo>
                      <a:pt x="258901" y="647573"/>
                      <a:pt x="221813" y="680232"/>
                      <a:pt x="224666" y="732771"/>
                    </a:cubicBezTo>
                    <a:cubicBezTo>
                      <a:pt x="225379" y="746261"/>
                      <a:pt x="236078" y="756201"/>
                      <a:pt x="249629" y="756201"/>
                    </a:cubicBezTo>
                    <a:cubicBezTo>
                      <a:pt x="256048" y="756201"/>
                      <a:pt x="261754" y="754071"/>
                      <a:pt x="266746" y="749101"/>
                    </a:cubicBezTo>
                    <a:cubicBezTo>
                      <a:pt x="274592" y="742001"/>
                      <a:pt x="296702" y="725671"/>
                      <a:pt x="348054" y="722121"/>
                    </a:cubicBezTo>
                    <a:cubicBezTo>
                      <a:pt x="348054" y="722121"/>
                      <a:pt x="348054" y="722121"/>
                      <a:pt x="393700" y="781050"/>
                    </a:cubicBezTo>
                    <a:lnTo>
                      <a:pt x="323091" y="781050"/>
                    </a:lnTo>
                    <a:cubicBezTo>
                      <a:pt x="323091" y="781050"/>
                      <a:pt x="323091" y="781050"/>
                      <a:pt x="0" y="781050"/>
                    </a:cubicBezTo>
                    <a:cubicBezTo>
                      <a:pt x="18544" y="740581"/>
                      <a:pt x="49212" y="688042"/>
                      <a:pt x="86300" y="671002"/>
                    </a:cubicBezTo>
                    <a:cubicBezTo>
                      <a:pt x="145498" y="644023"/>
                      <a:pt x="251055" y="640473"/>
                      <a:pt x="267459" y="639763"/>
                    </a:cubicBezTo>
                    <a:close/>
                    <a:moveTo>
                      <a:pt x="625646" y="317500"/>
                    </a:moveTo>
                    <a:cubicBezTo>
                      <a:pt x="626365" y="322482"/>
                      <a:pt x="627804" y="328175"/>
                      <a:pt x="629963" y="333868"/>
                    </a:cubicBezTo>
                    <a:cubicBezTo>
                      <a:pt x="634999" y="348812"/>
                      <a:pt x="628524" y="365179"/>
                      <a:pt x="614133" y="371584"/>
                    </a:cubicBezTo>
                    <a:cubicBezTo>
                      <a:pt x="614133" y="372296"/>
                      <a:pt x="614133" y="372296"/>
                      <a:pt x="613414" y="372296"/>
                    </a:cubicBezTo>
                    <a:cubicBezTo>
                      <a:pt x="604780" y="375854"/>
                      <a:pt x="594707" y="378700"/>
                      <a:pt x="586073" y="379412"/>
                    </a:cubicBezTo>
                    <a:cubicBezTo>
                      <a:pt x="581755" y="379412"/>
                      <a:pt x="577438" y="378700"/>
                      <a:pt x="573121" y="376566"/>
                    </a:cubicBezTo>
                    <a:cubicBezTo>
                      <a:pt x="566646" y="372296"/>
                      <a:pt x="552975" y="358775"/>
                      <a:pt x="534987" y="340272"/>
                    </a:cubicBezTo>
                    <a:cubicBezTo>
                      <a:pt x="542182" y="338849"/>
                      <a:pt x="548658" y="337426"/>
                      <a:pt x="555853" y="336003"/>
                    </a:cubicBezTo>
                    <a:cubicBezTo>
                      <a:pt x="583914" y="330310"/>
                      <a:pt x="607658" y="323905"/>
                      <a:pt x="625646" y="317500"/>
                    </a:cubicBezTo>
                    <a:close/>
                    <a:moveTo>
                      <a:pt x="188912" y="317500"/>
                    </a:moveTo>
                    <a:cubicBezTo>
                      <a:pt x="197885" y="321072"/>
                      <a:pt x="208929" y="324644"/>
                      <a:pt x="220662" y="328216"/>
                    </a:cubicBezTo>
                    <a:cubicBezTo>
                      <a:pt x="216521" y="339645"/>
                      <a:pt x="213070" y="348932"/>
                      <a:pt x="209619" y="354647"/>
                    </a:cubicBezTo>
                    <a:cubicBezTo>
                      <a:pt x="207548" y="358933"/>
                      <a:pt x="204787" y="360362"/>
                      <a:pt x="202717" y="360362"/>
                    </a:cubicBezTo>
                    <a:cubicBezTo>
                      <a:pt x="201336" y="360362"/>
                      <a:pt x="199266" y="359648"/>
                      <a:pt x="197885" y="358219"/>
                    </a:cubicBezTo>
                    <a:cubicBezTo>
                      <a:pt x="197195" y="357505"/>
                      <a:pt x="196505" y="356790"/>
                      <a:pt x="195814" y="354647"/>
                    </a:cubicBezTo>
                    <a:cubicBezTo>
                      <a:pt x="193054" y="348218"/>
                      <a:pt x="190293" y="333216"/>
                      <a:pt x="188912" y="317500"/>
                    </a:cubicBezTo>
                    <a:close/>
                    <a:moveTo>
                      <a:pt x="168908" y="241300"/>
                    </a:moveTo>
                    <a:cubicBezTo>
                      <a:pt x="168908" y="241300"/>
                      <a:pt x="171051" y="241300"/>
                      <a:pt x="174622" y="242009"/>
                    </a:cubicBezTo>
                    <a:cubicBezTo>
                      <a:pt x="177479" y="242009"/>
                      <a:pt x="181765" y="242718"/>
                      <a:pt x="187479" y="243427"/>
                    </a:cubicBezTo>
                    <a:cubicBezTo>
                      <a:pt x="202479" y="245554"/>
                      <a:pt x="228192" y="248390"/>
                      <a:pt x="262476" y="250517"/>
                    </a:cubicBezTo>
                    <a:cubicBezTo>
                      <a:pt x="268190" y="251226"/>
                      <a:pt x="273190" y="251226"/>
                      <a:pt x="278904" y="251935"/>
                    </a:cubicBezTo>
                    <a:cubicBezTo>
                      <a:pt x="285333" y="251935"/>
                      <a:pt x="291761" y="252644"/>
                      <a:pt x="298189" y="252644"/>
                    </a:cubicBezTo>
                    <a:cubicBezTo>
                      <a:pt x="319617" y="254062"/>
                      <a:pt x="343902" y="254771"/>
                      <a:pt x="370330" y="255480"/>
                    </a:cubicBezTo>
                    <a:cubicBezTo>
                      <a:pt x="381044" y="255480"/>
                      <a:pt x="392472" y="255480"/>
                      <a:pt x="403900" y="255480"/>
                    </a:cubicBezTo>
                    <a:cubicBezTo>
                      <a:pt x="403900" y="255480"/>
                      <a:pt x="404614" y="255480"/>
                      <a:pt x="404614" y="255480"/>
                    </a:cubicBezTo>
                    <a:cubicBezTo>
                      <a:pt x="413185" y="255480"/>
                      <a:pt x="421756" y="255480"/>
                      <a:pt x="430327" y="255480"/>
                    </a:cubicBezTo>
                    <a:cubicBezTo>
                      <a:pt x="529610" y="254062"/>
                      <a:pt x="595321" y="247681"/>
                      <a:pt x="625320" y="243427"/>
                    </a:cubicBezTo>
                    <a:cubicBezTo>
                      <a:pt x="630320" y="243427"/>
                      <a:pt x="634606" y="242718"/>
                      <a:pt x="638177" y="242009"/>
                    </a:cubicBezTo>
                    <a:cubicBezTo>
                      <a:pt x="641748" y="241300"/>
                      <a:pt x="643891" y="241300"/>
                      <a:pt x="643891" y="241300"/>
                    </a:cubicBezTo>
                    <a:cubicBezTo>
                      <a:pt x="643891" y="241300"/>
                      <a:pt x="646748" y="242718"/>
                      <a:pt x="648891" y="249099"/>
                    </a:cubicBezTo>
                    <a:cubicBezTo>
                      <a:pt x="650319" y="252644"/>
                      <a:pt x="651748" y="256898"/>
                      <a:pt x="651748" y="263988"/>
                    </a:cubicBezTo>
                    <a:cubicBezTo>
                      <a:pt x="652462" y="267532"/>
                      <a:pt x="652462" y="271077"/>
                      <a:pt x="651748" y="276040"/>
                    </a:cubicBezTo>
                    <a:cubicBezTo>
                      <a:pt x="651748" y="277458"/>
                      <a:pt x="651748" y="278876"/>
                      <a:pt x="651748" y="280294"/>
                    </a:cubicBezTo>
                    <a:cubicBezTo>
                      <a:pt x="651034" y="285257"/>
                      <a:pt x="646748" y="289511"/>
                      <a:pt x="638891" y="293765"/>
                    </a:cubicBezTo>
                    <a:cubicBezTo>
                      <a:pt x="635320" y="295183"/>
                      <a:pt x="631034" y="296601"/>
                      <a:pt x="626749" y="298019"/>
                    </a:cubicBezTo>
                    <a:cubicBezTo>
                      <a:pt x="626749" y="298019"/>
                      <a:pt x="626035" y="298019"/>
                      <a:pt x="626035" y="298019"/>
                    </a:cubicBezTo>
                    <a:cubicBezTo>
                      <a:pt x="598178" y="306526"/>
                      <a:pt x="551037" y="310780"/>
                      <a:pt x="506753" y="312907"/>
                    </a:cubicBezTo>
                    <a:cubicBezTo>
                      <a:pt x="500325" y="312907"/>
                      <a:pt x="493897" y="312907"/>
                      <a:pt x="488182" y="313616"/>
                    </a:cubicBezTo>
                    <a:cubicBezTo>
                      <a:pt x="481754" y="313616"/>
                      <a:pt x="475326" y="313616"/>
                      <a:pt x="468897" y="313616"/>
                    </a:cubicBezTo>
                    <a:cubicBezTo>
                      <a:pt x="443184" y="314325"/>
                      <a:pt x="421042" y="314325"/>
                      <a:pt x="406757" y="314325"/>
                    </a:cubicBezTo>
                    <a:cubicBezTo>
                      <a:pt x="376758" y="314325"/>
                      <a:pt x="312475" y="314325"/>
                      <a:pt x="256762" y="309362"/>
                    </a:cubicBezTo>
                    <a:cubicBezTo>
                      <a:pt x="252477" y="309362"/>
                      <a:pt x="248191" y="308653"/>
                      <a:pt x="243191" y="307944"/>
                    </a:cubicBezTo>
                    <a:cubicBezTo>
                      <a:pt x="238906" y="307944"/>
                      <a:pt x="234620" y="307235"/>
                      <a:pt x="230335" y="306526"/>
                    </a:cubicBezTo>
                    <a:cubicBezTo>
                      <a:pt x="218907" y="305108"/>
                      <a:pt x="208193" y="303690"/>
                      <a:pt x="198907" y="301563"/>
                    </a:cubicBezTo>
                    <a:cubicBezTo>
                      <a:pt x="195336" y="300146"/>
                      <a:pt x="191765" y="299437"/>
                      <a:pt x="188193" y="298728"/>
                    </a:cubicBezTo>
                    <a:cubicBezTo>
                      <a:pt x="188193" y="298728"/>
                      <a:pt x="187479" y="298728"/>
                      <a:pt x="187479" y="298019"/>
                    </a:cubicBezTo>
                    <a:cubicBezTo>
                      <a:pt x="182479" y="296601"/>
                      <a:pt x="178194" y="295183"/>
                      <a:pt x="173908" y="293765"/>
                    </a:cubicBezTo>
                    <a:cubicBezTo>
                      <a:pt x="173908" y="293765"/>
                      <a:pt x="173908" y="293056"/>
                      <a:pt x="173908" y="293056"/>
                    </a:cubicBezTo>
                    <a:cubicBezTo>
                      <a:pt x="166765" y="289511"/>
                      <a:pt x="161765" y="285257"/>
                      <a:pt x="161765" y="280294"/>
                    </a:cubicBezTo>
                    <a:cubicBezTo>
                      <a:pt x="160337" y="259025"/>
                      <a:pt x="163194" y="249099"/>
                      <a:pt x="166051" y="244136"/>
                    </a:cubicBezTo>
                    <a:cubicBezTo>
                      <a:pt x="168194" y="242009"/>
                      <a:pt x="168908" y="241300"/>
                      <a:pt x="168908" y="241300"/>
                    </a:cubicBezTo>
                    <a:close/>
                    <a:moveTo>
                      <a:pt x="405606" y="133350"/>
                    </a:moveTo>
                    <a:cubicBezTo>
                      <a:pt x="366590" y="133350"/>
                      <a:pt x="334962" y="149342"/>
                      <a:pt x="334962" y="169069"/>
                    </a:cubicBezTo>
                    <a:cubicBezTo>
                      <a:pt x="334962" y="188796"/>
                      <a:pt x="366590" y="204788"/>
                      <a:pt x="405606" y="204788"/>
                    </a:cubicBezTo>
                    <a:cubicBezTo>
                      <a:pt x="444622" y="204788"/>
                      <a:pt x="476250" y="188796"/>
                      <a:pt x="476250" y="169069"/>
                    </a:cubicBezTo>
                    <a:cubicBezTo>
                      <a:pt x="476250" y="149342"/>
                      <a:pt x="444622" y="133350"/>
                      <a:pt x="405606" y="133350"/>
                    </a:cubicBezTo>
                    <a:close/>
                    <a:moveTo>
                      <a:pt x="404065" y="0"/>
                    </a:moveTo>
                    <a:cubicBezTo>
                      <a:pt x="431161" y="0"/>
                      <a:pt x="504606" y="21386"/>
                      <a:pt x="507458" y="22812"/>
                    </a:cubicBezTo>
                    <a:cubicBezTo>
                      <a:pt x="598015" y="54177"/>
                      <a:pt x="624398" y="135443"/>
                      <a:pt x="635094" y="175363"/>
                    </a:cubicBezTo>
                    <a:cubicBezTo>
                      <a:pt x="635094" y="177501"/>
                      <a:pt x="635807" y="179640"/>
                      <a:pt x="636520" y="182491"/>
                    </a:cubicBezTo>
                    <a:cubicBezTo>
                      <a:pt x="636520" y="182491"/>
                      <a:pt x="636520" y="182491"/>
                      <a:pt x="637233" y="184630"/>
                    </a:cubicBezTo>
                    <a:cubicBezTo>
                      <a:pt x="639372" y="191759"/>
                      <a:pt x="640798" y="200313"/>
                      <a:pt x="642937" y="209580"/>
                    </a:cubicBezTo>
                    <a:cubicBezTo>
                      <a:pt x="642937" y="209580"/>
                      <a:pt x="642937" y="209580"/>
                      <a:pt x="639372" y="210293"/>
                    </a:cubicBezTo>
                    <a:cubicBezTo>
                      <a:pt x="639372" y="210293"/>
                      <a:pt x="636520" y="210293"/>
                      <a:pt x="632241" y="211006"/>
                    </a:cubicBezTo>
                    <a:cubicBezTo>
                      <a:pt x="628676" y="211719"/>
                      <a:pt x="624398" y="212431"/>
                      <a:pt x="619407" y="213144"/>
                    </a:cubicBezTo>
                    <a:cubicBezTo>
                      <a:pt x="586606" y="216709"/>
                      <a:pt x="514588" y="223837"/>
                      <a:pt x="404065" y="223837"/>
                    </a:cubicBezTo>
                    <a:cubicBezTo>
                      <a:pt x="387665" y="223837"/>
                      <a:pt x="372691" y="223837"/>
                      <a:pt x="357717" y="223837"/>
                    </a:cubicBezTo>
                    <a:cubicBezTo>
                      <a:pt x="336326" y="223124"/>
                      <a:pt x="316360" y="222411"/>
                      <a:pt x="297821" y="221699"/>
                    </a:cubicBezTo>
                    <a:cubicBezTo>
                      <a:pt x="248621" y="218847"/>
                      <a:pt x="212255" y="215283"/>
                      <a:pt x="191577" y="212431"/>
                    </a:cubicBezTo>
                    <a:cubicBezTo>
                      <a:pt x="186585" y="211719"/>
                      <a:pt x="182307" y="211719"/>
                      <a:pt x="178742" y="211006"/>
                    </a:cubicBezTo>
                    <a:cubicBezTo>
                      <a:pt x="175889" y="210293"/>
                      <a:pt x="174463" y="210293"/>
                      <a:pt x="173037" y="210293"/>
                    </a:cubicBezTo>
                    <a:cubicBezTo>
                      <a:pt x="175176" y="201026"/>
                      <a:pt x="178029" y="192471"/>
                      <a:pt x="180168" y="184630"/>
                    </a:cubicBezTo>
                    <a:cubicBezTo>
                      <a:pt x="180168" y="184630"/>
                      <a:pt x="180168" y="184630"/>
                      <a:pt x="180168" y="182491"/>
                    </a:cubicBezTo>
                    <a:cubicBezTo>
                      <a:pt x="182307" y="171799"/>
                      <a:pt x="185872" y="158254"/>
                      <a:pt x="191577" y="142571"/>
                    </a:cubicBezTo>
                    <a:cubicBezTo>
                      <a:pt x="205838" y="101226"/>
                      <a:pt x="235073" y="47049"/>
                      <a:pt x="304952" y="22812"/>
                    </a:cubicBezTo>
                    <a:cubicBezTo>
                      <a:pt x="305665" y="22812"/>
                      <a:pt x="375543" y="0"/>
                      <a:pt x="404065"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54" name="Freeform 53">
                <a:extLst>
                  <a:ext uri="{FF2B5EF4-FFF2-40B4-BE49-F238E27FC236}">
                    <a16:creationId xmlns:a16="http://schemas.microsoft.com/office/drawing/2014/main" id="{99F9A8B8-8D58-B34B-B27E-D76FD4BD9A92}"/>
                  </a:ext>
                </a:extLst>
              </p:cNvPr>
              <p:cNvSpPr>
                <a:spLocks/>
              </p:cNvSpPr>
              <p:nvPr/>
            </p:nvSpPr>
            <p:spPr bwMode="auto">
              <a:xfrm>
                <a:off x="5629274" y="3121025"/>
                <a:ext cx="954088" cy="969962"/>
              </a:xfrm>
              <a:custGeom>
                <a:avLst/>
                <a:gdLst>
                  <a:gd name="connsiteX0" fmla="*/ 309563 w 954088"/>
                  <a:gd name="connsiteY0" fmla="*/ 903288 h 969962"/>
                  <a:gd name="connsiteX1" fmla="*/ 638175 w 954088"/>
                  <a:gd name="connsiteY1" fmla="*/ 903288 h 969962"/>
                  <a:gd name="connsiteX2" fmla="*/ 638175 w 954088"/>
                  <a:gd name="connsiteY2" fmla="*/ 919163 h 969962"/>
                  <a:gd name="connsiteX3" fmla="*/ 638175 w 954088"/>
                  <a:gd name="connsiteY3" fmla="*/ 932873 h 969962"/>
                  <a:gd name="connsiteX4" fmla="*/ 638175 w 954088"/>
                  <a:gd name="connsiteY4" fmla="*/ 935038 h 969962"/>
                  <a:gd name="connsiteX5" fmla="*/ 309563 w 954088"/>
                  <a:gd name="connsiteY5" fmla="*/ 935038 h 969962"/>
                  <a:gd name="connsiteX6" fmla="*/ 309563 w 954088"/>
                  <a:gd name="connsiteY6" fmla="*/ 932873 h 969962"/>
                  <a:gd name="connsiteX7" fmla="*/ 309563 w 954088"/>
                  <a:gd name="connsiteY7" fmla="*/ 919163 h 969962"/>
                  <a:gd name="connsiteX8" fmla="*/ 309563 w 954088"/>
                  <a:gd name="connsiteY8" fmla="*/ 903288 h 969962"/>
                  <a:gd name="connsiteX9" fmla="*/ 851263 w 954088"/>
                  <a:gd name="connsiteY9" fmla="*/ 877888 h 969962"/>
                  <a:gd name="connsiteX10" fmla="*/ 830987 w 954088"/>
                  <a:gd name="connsiteY10" fmla="*/ 897950 h 969962"/>
                  <a:gd name="connsiteX11" fmla="*/ 830987 w 954088"/>
                  <a:gd name="connsiteY11" fmla="*/ 902965 h 969962"/>
                  <a:gd name="connsiteX12" fmla="*/ 830987 w 954088"/>
                  <a:gd name="connsiteY12" fmla="*/ 918727 h 969962"/>
                  <a:gd name="connsiteX13" fmla="*/ 830263 w 954088"/>
                  <a:gd name="connsiteY13" fmla="*/ 934490 h 969962"/>
                  <a:gd name="connsiteX14" fmla="*/ 830263 w 954088"/>
                  <a:gd name="connsiteY14" fmla="*/ 950252 h 969962"/>
                  <a:gd name="connsiteX15" fmla="*/ 830263 w 954088"/>
                  <a:gd name="connsiteY15" fmla="*/ 955268 h 969962"/>
                  <a:gd name="connsiteX16" fmla="*/ 834608 w 954088"/>
                  <a:gd name="connsiteY16" fmla="*/ 958850 h 969962"/>
                  <a:gd name="connsiteX17" fmla="*/ 867918 w 954088"/>
                  <a:gd name="connsiteY17" fmla="*/ 958850 h 969962"/>
                  <a:gd name="connsiteX18" fmla="*/ 871538 w 954088"/>
                  <a:gd name="connsiteY18" fmla="*/ 955268 h 969962"/>
                  <a:gd name="connsiteX19" fmla="*/ 871538 w 954088"/>
                  <a:gd name="connsiteY19" fmla="*/ 950252 h 969962"/>
                  <a:gd name="connsiteX20" fmla="*/ 871538 w 954088"/>
                  <a:gd name="connsiteY20" fmla="*/ 934490 h 969962"/>
                  <a:gd name="connsiteX21" fmla="*/ 871538 w 954088"/>
                  <a:gd name="connsiteY21" fmla="*/ 918727 h 969962"/>
                  <a:gd name="connsiteX22" fmla="*/ 871538 w 954088"/>
                  <a:gd name="connsiteY22" fmla="*/ 902965 h 969962"/>
                  <a:gd name="connsiteX23" fmla="*/ 871538 w 954088"/>
                  <a:gd name="connsiteY23" fmla="*/ 897950 h 969962"/>
                  <a:gd name="connsiteX24" fmla="*/ 851263 w 954088"/>
                  <a:gd name="connsiteY24" fmla="*/ 877888 h 969962"/>
                  <a:gd name="connsiteX25" fmla="*/ 95613 w 954088"/>
                  <a:gd name="connsiteY25" fmla="*/ 877888 h 969962"/>
                  <a:gd name="connsiteX26" fmla="*/ 74613 w 954088"/>
                  <a:gd name="connsiteY26" fmla="*/ 897950 h 969962"/>
                  <a:gd name="connsiteX27" fmla="*/ 74613 w 954088"/>
                  <a:gd name="connsiteY27" fmla="*/ 902965 h 969962"/>
                  <a:gd name="connsiteX28" fmla="*/ 74613 w 954088"/>
                  <a:gd name="connsiteY28" fmla="*/ 918727 h 969962"/>
                  <a:gd name="connsiteX29" fmla="*/ 74613 w 954088"/>
                  <a:gd name="connsiteY29" fmla="*/ 934490 h 969962"/>
                  <a:gd name="connsiteX30" fmla="*/ 74613 w 954088"/>
                  <a:gd name="connsiteY30" fmla="*/ 950252 h 969962"/>
                  <a:gd name="connsiteX31" fmla="*/ 74613 w 954088"/>
                  <a:gd name="connsiteY31" fmla="*/ 955268 h 969962"/>
                  <a:gd name="connsiteX32" fmla="*/ 78958 w 954088"/>
                  <a:gd name="connsiteY32" fmla="*/ 958850 h 969962"/>
                  <a:gd name="connsiteX33" fmla="*/ 112268 w 954088"/>
                  <a:gd name="connsiteY33" fmla="*/ 958850 h 969962"/>
                  <a:gd name="connsiteX34" fmla="*/ 115164 w 954088"/>
                  <a:gd name="connsiteY34" fmla="*/ 957417 h 969962"/>
                  <a:gd name="connsiteX35" fmla="*/ 115888 w 954088"/>
                  <a:gd name="connsiteY35" fmla="*/ 955268 h 969962"/>
                  <a:gd name="connsiteX36" fmla="*/ 115888 w 954088"/>
                  <a:gd name="connsiteY36" fmla="*/ 950252 h 969962"/>
                  <a:gd name="connsiteX37" fmla="*/ 115888 w 954088"/>
                  <a:gd name="connsiteY37" fmla="*/ 934490 h 969962"/>
                  <a:gd name="connsiteX38" fmla="*/ 115888 w 954088"/>
                  <a:gd name="connsiteY38" fmla="*/ 918727 h 969962"/>
                  <a:gd name="connsiteX39" fmla="*/ 115888 w 954088"/>
                  <a:gd name="connsiteY39" fmla="*/ 902965 h 969962"/>
                  <a:gd name="connsiteX40" fmla="*/ 115888 w 954088"/>
                  <a:gd name="connsiteY40" fmla="*/ 897950 h 969962"/>
                  <a:gd name="connsiteX41" fmla="*/ 95613 w 954088"/>
                  <a:gd name="connsiteY41" fmla="*/ 877888 h 969962"/>
                  <a:gd name="connsiteX42" fmla="*/ 684659 w 954088"/>
                  <a:gd name="connsiteY42" fmla="*/ 868363 h 969962"/>
                  <a:gd name="connsiteX43" fmla="*/ 665163 w 954088"/>
                  <a:gd name="connsiteY43" fmla="*/ 888482 h 969962"/>
                  <a:gd name="connsiteX44" fmla="*/ 665163 w 954088"/>
                  <a:gd name="connsiteY44" fmla="*/ 903572 h 969962"/>
                  <a:gd name="connsiteX45" fmla="*/ 665163 w 954088"/>
                  <a:gd name="connsiteY45" fmla="*/ 919380 h 969962"/>
                  <a:gd name="connsiteX46" fmla="*/ 665163 w 954088"/>
                  <a:gd name="connsiteY46" fmla="*/ 933032 h 969962"/>
                  <a:gd name="connsiteX47" fmla="*/ 665860 w 954088"/>
                  <a:gd name="connsiteY47" fmla="*/ 935188 h 969962"/>
                  <a:gd name="connsiteX48" fmla="*/ 665860 w 954088"/>
                  <a:gd name="connsiteY48" fmla="*/ 935907 h 969962"/>
                  <a:gd name="connsiteX49" fmla="*/ 668645 w 954088"/>
                  <a:gd name="connsiteY49" fmla="*/ 936625 h 969962"/>
                  <a:gd name="connsiteX50" fmla="*/ 700673 w 954088"/>
                  <a:gd name="connsiteY50" fmla="*/ 936625 h 969962"/>
                  <a:gd name="connsiteX51" fmla="*/ 703458 w 954088"/>
                  <a:gd name="connsiteY51" fmla="*/ 935188 h 969962"/>
                  <a:gd name="connsiteX52" fmla="*/ 704154 w 954088"/>
                  <a:gd name="connsiteY52" fmla="*/ 933032 h 969962"/>
                  <a:gd name="connsiteX53" fmla="*/ 704154 w 954088"/>
                  <a:gd name="connsiteY53" fmla="*/ 919380 h 969962"/>
                  <a:gd name="connsiteX54" fmla="*/ 704154 w 954088"/>
                  <a:gd name="connsiteY54" fmla="*/ 903572 h 969962"/>
                  <a:gd name="connsiteX55" fmla="*/ 704154 w 954088"/>
                  <a:gd name="connsiteY55" fmla="*/ 888482 h 969962"/>
                  <a:gd name="connsiteX56" fmla="*/ 684659 w 954088"/>
                  <a:gd name="connsiteY56" fmla="*/ 868363 h 969962"/>
                  <a:gd name="connsiteX57" fmla="*/ 261576 w 954088"/>
                  <a:gd name="connsiteY57" fmla="*/ 868363 h 969962"/>
                  <a:gd name="connsiteX58" fmla="*/ 241300 w 954088"/>
                  <a:gd name="connsiteY58" fmla="*/ 888482 h 969962"/>
                  <a:gd name="connsiteX59" fmla="*/ 241300 w 954088"/>
                  <a:gd name="connsiteY59" fmla="*/ 903572 h 969962"/>
                  <a:gd name="connsiteX60" fmla="*/ 241300 w 954088"/>
                  <a:gd name="connsiteY60" fmla="*/ 919380 h 969962"/>
                  <a:gd name="connsiteX61" fmla="*/ 241300 w 954088"/>
                  <a:gd name="connsiteY61" fmla="*/ 933032 h 969962"/>
                  <a:gd name="connsiteX62" fmla="*/ 242024 w 954088"/>
                  <a:gd name="connsiteY62" fmla="*/ 935188 h 969962"/>
                  <a:gd name="connsiteX63" fmla="*/ 244921 w 954088"/>
                  <a:gd name="connsiteY63" fmla="*/ 936625 h 969962"/>
                  <a:gd name="connsiteX64" fmla="*/ 278955 w 954088"/>
                  <a:gd name="connsiteY64" fmla="*/ 936625 h 969962"/>
                  <a:gd name="connsiteX65" fmla="*/ 281127 w 954088"/>
                  <a:gd name="connsiteY65" fmla="*/ 935907 h 969962"/>
                  <a:gd name="connsiteX66" fmla="*/ 281851 w 954088"/>
                  <a:gd name="connsiteY66" fmla="*/ 935188 h 969962"/>
                  <a:gd name="connsiteX67" fmla="*/ 282575 w 954088"/>
                  <a:gd name="connsiteY67" fmla="*/ 933032 h 969962"/>
                  <a:gd name="connsiteX68" fmla="*/ 282575 w 954088"/>
                  <a:gd name="connsiteY68" fmla="*/ 919380 h 969962"/>
                  <a:gd name="connsiteX69" fmla="*/ 282575 w 954088"/>
                  <a:gd name="connsiteY69" fmla="*/ 903572 h 969962"/>
                  <a:gd name="connsiteX70" fmla="*/ 282575 w 954088"/>
                  <a:gd name="connsiteY70" fmla="*/ 888482 h 969962"/>
                  <a:gd name="connsiteX71" fmla="*/ 261576 w 954088"/>
                  <a:gd name="connsiteY71" fmla="*/ 868363 h 969962"/>
                  <a:gd name="connsiteX72" fmla="*/ 740138 w 954088"/>
                  <a:gd name="connsiteY72" fmla="*/ 862013 h 969962"/>
                  <a:gd name="connsiteX73" fmla="*/ 719138 w 954088"/>
                  <a:gd name="connsiteY73" fmla="*/ 882251 h 969962"/>
                  <a:gd name="connsiteX74" fmla="*/ 719138 w 954088"/>
                  <a:gd name="connsiteY74" fmla="*/ 903211 h 969962"/>
                  <a:gd name="connsiteX75" fmla="*/ 719138 w 954088"/>
                  <a:gd name="connsiteY75" fmla="*/ 919112 h 969962"/>
                  <a:gd name="connsiteX76" fmla="*/ 719138 w 954088"/>
                  <a:gd name="connsiteY76" fmla="*/ 935012 h 969962"/>
                  <a:gd name="connsiteX77" fmla="*/ 719138 w 954088"/>
                  <a:gd name="connsiteY77" fmla="*/ 947299 h 969962"/>
                  <a:gd name="connsiteX78" fmla="*/ 722759 w 954088"/>
                  <a:gd name="connsiteY78" fmla="*/ 950913 h 969962"/>
                  <a:gd name="connsiteX79" fmla="*/ 752448 w 954088"/>
                  <a:gd name="connsiteY79" fmla="*/ 950913 h 969962"/>
                  <a:gd name="connsiteX80" fmla="*/ 756793 w 954088"/>
                  <a:gd name="connsiteY80" fmla="*/ 950913 h 969962"/>
                  <a:gd name="connsiteX81" fmla="*/ 760413 w 954088"/>
                  <a:gd name="connsiteY81" fmla="*/ 947299 h 969962"/>
                  <a:gd name="connsiteX82" fmla="*/ 760413 w 954088"/>
                  <a:gd name="connsiteY82" fmla="*/ 935012 h 969962"/>
                  <a:gd name="connsiteX83" fmla="*/ 760413 w 954088"/>
                  <a:gd name="connsiteY83" fmla="*/ 919112 h 969962"/>
                  <a:gd name="connsiteX84" fmla="*/ 760413 w 954088"/>
                  <a:gd name="connsiteY84" fmla="*/ 903211 h 969962"/>
                  <a:gd name="connsiteX85" fmla="*/ 760413 w 954088"/>
                  <a:gd name="connsiteY85" fmla="*/ 882251 h 969962"/>
                  <a:gd name="connsiteX86" fmla="*/ 754620 w 954088"/>
                  <a:gd name="connsiteY86" fmla="*/ 867795 h 969962"/>
                  <a:gd name="connsiteX87" fmla="*/ 740138 w 954088"/>
                  <a:gd name="connsiteY87" fmla="*/ 862013 h 969962"/>
                  <a:gd name="connsiteX88" fmla="*/ 206738 w 954088"/>
                  <a:gd name="connsiteY88" fmla="*/ 862013 h 969962"/>
                  <a:gd name="connsiteX89" fmla="*/ 192255 w 954088"/>
                  <a:gd name="connsiteY89" fmla="*/ 867795 h 969962"/>
                  <a:gd name="connsiteX90" fmla="*/ 185738 w 954088"/>
                  <a:gd name="connsiteY90" fmla="*/ 882251 h 969962"/>
                  <a:gd name="connsiteX91" fmla="*/ 185738 w 954088"/>
                  <a:gd name="connsiteY91" fmla="*/ 903211 h 969962"/>
                  <a:gd name="connsiteX92" fmla="*/ 185738 w 954088"/>
                  <a:gd name="connsiteY92" fmla="*/ 919112 h 969962"/>
                  <a:gd name="connsiteX93" fmla="*/ 186462 w 954088"/>
                  <a:gd name="connsiteY93" fmla="*/ 935012 h 969962"/>
                  <a:gd name="connsiteX94" fmla="*/ 186462 w 954088"/>
                  <a:gd name="connsiteY94" fmla="*/ 947299 h 969962"/>
                  <a:gd name="connsiteX95" fmla="*/ 190083 w 954088"/>
                  <a:gd name="connsiteY95" fmla="*/ 950913 h 969962"/>
                  <a:gd name="connsiteX96" fmla="*/ 193704 w 954088"/>
                  <a:gd name="connsiteY96" fmla="*/ 950913 h 969962"/>
                  <a:gd name="connsiteX97" fmla="*/ 223393 w 954088"/>
                  <a:gd name="connsiteY97" fmla="*/ 950913 h 969962"/>
                  <a:gd name="connsiteX98" fmla="*/ 227013 w 954088"/>
                  <a:gd name="connsiteY98" fmla="*/ 947299 h 969962"/>
                  <a:gd name="connsiteX99" fmla="*/ 227013 w 954088"/>
                  <a:gd name="connsiteY99" fmla="*/ 935012 h 969962"/>
                  <a:gd name="connsiteX100" fmla="*/ 227013 w 954088"/>
                  <a:gd name="connsiteY100" fmla="*/ 919112 h 969962"/>
                  <a:gd name="connsiteX101" fmla="*/ 227013 w 954088"/>
                  <a:gd name="connsiteY101" fmla="*/ 903211 h 969962"/>
                  <a:gd name="connsiteX102" fmla="*/ 227013 w 954088"/>
                  <a:gd name="connsiteY102" fmla="*/ 882251 h 969962"/>
                  <a:gd name="connsiteX103" fmla="*/ 206738 w 954088"/>
                  <a:gd name="connsiteY103" fmla="*/ 862013 h 969962"/>
                  <a:gd name="connsiteX104" fmla="*/ 794976 w 954088"/>
                  <a:gd name="connsiteY104" fmla="*/ 849313 h 969962"/>
                  <a:gd name="connsiteX105" fmla="*/ 774700 w 954088"/>
                  <a:gd name="connsiteY105" fmla="*/ 869347 h 969962"/>
                  <a:gd name="connsiteX106" fmla="*/ 774700 w 954088"/>
                  <a:gd name="connsiteY106" fmla="*/ 903691 h 969962"/>
                  <a:gd name="connsiteX107" fmla="*/ 774700 w 954088"/>
                  <a:gd name="connsiteY107" fmla="*/ 919431 h 969962"/>
                  <a:gd name="connsiteX108" fmla="*/ 774700 w 954088"/>
                  <a:gd name="connsiteY108" fmla="*/ 935172 h 969962"/>
                  <a:gd name="connsiteX109" fmla="*/ 774700 w 954088"/>
                  <a:gd name="connsiteY109" fmla="*/ 947336 h 969962"/>
                  <a:gd name="connsiteX110" fmla="*/ 775424 w 954088"/>
                  <a:gd name="connsiteY110" fmla="*/ 950198 h 969962"/>
                  <a:gd name="connsiteX111" fmla="*/ 778321 w 954088"/>
                  <a:gd name="connsiteY111" fmla="*/ 950913 h 969962"/>
                  <a:gd name="connsiteX112" fmla="*/ 811631 w 954088"/>
                  <a:gd name="connsiteY112" fmla="*/ 950913 h 969962"/>
                  <a:gd name="connsiteX113" fmla="*/ 812355 w 954088"/>
                  <a:gd name="connsiteY113" fmla="*/ 950913 h 969962"/>
                  <a:gd name="connsiteX114" fmla="*/ 815975 w 954088"/>
                  <a:gd name="connsiteY114" fmla="*/ 947336 h 969962"/>
                  <a:gd name="connsiteX115" fmla="*/ 815975 w 954088"/>
                  <a:gd name="connsiteY115" fmla="*/ 935172 h 969962"/>
                  <a:gd name="connsiteX116" fmla="*/ 815975 w 954088"/>
                  <a:gd name="connsiteY116" fmla="*/ 919431 h 969962"/>
                  <a:gd name="connsiteX117" fmla="*/ 815975 w 954088"/>
                  <a:gd name="connsiteY117" fmla="*/ 903691 h 969962"/>
                  <a:gd name="connsiteX118" fmla="*/ 815975 w 954088"/>
                  <a:gd name="connsiteY118" fmla="*/ 869347 h 969962"/>
                  <a:gd name="connsiteX119" fmla="*/ 794976 w 954088"/>
                  <a:gd name="connsiteY119" fmla="*/ 849313 h 969962"/>
                  <a:gd name="connsiteX120" fmla="*/ 150451 w 954088"/>
                  <a:gd name="connsiteY120" fmla="*/ 849313 h 969962"/>
                  <a:gd name="connsiteX121" fmla="*/ 130175 w 954088"/>
                  <a:gd name="connsiteY121" fmla="*/ 869347 h 969962"/>
                  <a:gd name="connsiteX122" fmla="*/ 130175 w 954088"/>
                  <a:gd name="connsiteY122" fmla="*/ 903691 h 969962"/>
                  <a:gd name="connsiteX123" fmla="*/ 130175 w 954088"/>
                  <a:gd name="connsiteY123" fmla="*/ 919431 h 969962"/>
                  <a:gd name="connsiteX124" fmla="*/ 130175 w 954088"/>
                  <a:gd name="connsiteY124" fmla="*/ 935172 h 969962"/>
                  <a:gd name="connsiteX125" fmla="*/ 130175 w 954088"/>
                  <a:gd name="connsiteY125" fmla="*/ 947336 h 969962"/>
                  <a:gd name="connsiteX126" fmla="*/ 133072 w 954088"/>
                  <a:gd name="connsiteY126" fmla="*/ 950913 h 969962"/>
                  <a:gd name="connsiteX127" fmla="*/ 133796 w 954088"/>
                  <a:gd name="connsiteY127" fmla="*/ 950913 h 969962"/>
                  <a:gd name="connsiteX128" fmla="*/ 167106 w 954088"/>
                  <a:gd name="connsiteY128" fmla="*/ 950913 h 969962"/>
                  <a:gd name="connsiteX129" fmla="*/ 167830 w 954088"/>
                  <a:gd name="connsiteY129" fmla="*/ 950913 h 969962"/>
                  <a:gd name="connsiteX130" fmla="*/ 170002 w 954088"/>
                  <a:gd name="connsiteY130" fmla="*/ 950198 h 969962"/>
                  <a:gd name="connsiteX131" fmla="*/ 171450 w 954088"/>
                  <a:gd name="connsiteY131" fmla="*/ 947336 h 969962"/>
                  <a:gd name="connsiteX132" fmla="*/ 171450 w 954088"/>
                  <a:gd name="connsiteY132" fmla="*/ 935172 h 969962"/>
                  <a:gd name="connsiteX133" fmla="*/ 171450 w 954088"/>
                  <a:gd name="connsiteY133" fmla="*/ 919431 h 969962"/>
                  <a:gd name="connsiteX134" fmla="*/ 171450 w 954088"/>
                  <a:gd name="connsiteY134" fmla="*/ 903691 h 969962"/>
                  <a:gd name="connsiteX135" fmla="*/ 171450 w 954088"/>
                  <a:gd name="connsiteY135" fmla="*/ 869347 h 969962"/>
                  <a:gd name="connsiteX136" fmla="*/ 150451 w 954088"/>
                  <a:gd name="connsiteY136" fmla="*/ 849313 h 969962"/>
                  <a:gd name="connsiteX137" fmla="*/ 795165 w 954088"/>
                  <a:gd name="connsiteY137" fmla="*/ 838200 h 969962"/>
                  <a:gd name="connsiteX138" fmla="*/ 827434 w 954088"/>
                  <a:gd name="connsiteY138" fmla="*/ 869370 h 969962"/>
                  <a:gd name="connsiteX139" fmla="*/ 827434 w 954088"/>
                  <a:gd name="connsiteY139" fmla="*/ 877870 h 969962"/>
                  <a:gd name="connsiteX140" fmla="*/ 851098 w 954088"/>
                  <a:gd name="connsiteY140" fmla="*/ 867244 h 969962"/>
                  <a:gd name="connsiteX141" fmla="*/ 873328 w 954088"/>
                  <a:gd name="connsiteY141" fmla="*/ 876454 h 969962"/>
                  <a:gd name="connsiteX142" fmla="*/ 882650 w 954088"/>
                  <a:gd name="connsiteY142" fmla="*/ 898414 h 969962"/>
                  <a:gd name="connsiteX143" fmla="*/ 882650 w 954088"/>
                  <a:gd name="connsiteY143" fmla="*/ 903373 h 969962"/>
                  <a:gd name="connsiteX144" fmla="*/ 882650 w 954088"/>
                  <a:gd name="connsiteY144" fmla="*/ 918957 h 969962"/>
                  <a:gd name="connsiteX145" fmla="*/ 882650 w 954088"/>
                  <a:gd name="connsiteY145" fmla="*/ 934542 h 969962"/>
                  <a:gd name="connsiteX146" fmla="*/ 882650 w 954088"/>
                  <a:gd name="connsiteY146" fmla="*/ 950127 h 969962"/>
                  <a:gd name="connsiteX147" fmla="*/ 882650 w 954088"/>
                  <a:gd name="connsiteY147" fmla="*/ 955086 h 969962"/>
                  <a:gd name="connsiteX148" fmla="*/ 878348 w 954088"/>
                  <a:gd name="connsiteY148" fmla="*/ 965712 h 969962"/>
                  <a:gd name="connsiteX149" fmla="*/ 867591 w 954088"/>
                  <a:gd name="connsiteY149" fmla="*/ 969962 h 969962"/>
                  <a:gd name="connsiteX150" fmla="*/ 834605 w 954088"/>
                  <a:gd name="connsiteY150" fmla="*/ 969962 h 969962"/>
                  <a:gd name="connsiteX151" fmla="*/ 823849 w 954088"/>
                  <a:gd name="connsiteY151" fmla="*/ 965712 h 969962"/>
                  <a:gd name="connsiteX152" fmla="*/ 819546 w 954088"/>
                  <a:gd name="connsiteY152" fmla="*/ 959336 h 969962"/>
                  <a:gd name="connsiteX153" fmla="*/ 811658 w 954088"/>
                  <a:gd name="connsiteY153" fmla="*/ 961461 h 969962"/>
                  <a:gd name="connsiteX154" fmla="*/ 778672 w 954088"/>
                  <a:gd name="connsiteY154" fmla="*/ 961461 h 969962"/>
                  <a:gd name="connsiteX155" fmla="*/ 767915 w 954088"/>
                  <a:gd name="connsiteY155" fmla="*/ 957211 h 969962"/>
                  <a:gd name="connsiteX156" fmla="*/ 767198 w 954088"/>
                  <a:gd name="connsiteY156" fmla="*/ 956503 h 969962"/>
                  <a:gd name="connsiteX157" fmla="*/ 756442 w 954088"/>
                  <a:gd name="connsiteY157" fmla="*/ 961461 h 969962"/>
                  <a:gd name="connsiteX158" fmla="*/ 722738 w 954088"/>
                  <a:gd name="connsiteY158" fmla="*/ 961461 h 969962"/>
                  <a:gd name="connsiteX159" fmla="*/ 708397 w 954088"/>
                  <a:gd name="connsiteY159" fmla="*/ 950127 h 969962"/>
                  <a:gd name="connsiteX160" fmla="*/ 707679 w 954088"/>
                  <a:gd name="connsiteY160" fmla="*/ 946585 h 969962"/>
                  <a:gd name="connsiteX161" fmla="*/ 707679 w 954088"/>
                  <a:gd name="connsiteY161" fmla="*/ 945877 h 969962"/>
                  <a:gd name="connsiteX162" fmla="*/ 700509 w 954088"/>
                  <a:gd name="connsiteY162" fmla="*/ 947293 h 969962"/>
                  <a:gd name="connsiteX163" fmla="*/ 667522 w 954088"/>
                  <a:gd name="connsiteY163" fmla="*/ 947293 h 969962"/>
                  <a:gd name="connsiteX164" fmla="*/ 656766 w 954088"/>
                  <a:gd name="connsiteY164" fmla="*/ 943043 h 969962"/>
                  <a:gd name="connsiteX165" fmla="*/ 652463 w 954088"/>
                  <a:gd name="connsiteY165" fmla="*/ 934542 h 969962"/>
                  <a:gd name="connsiteX166" fmla="*/ 652463 w 954088"/>
                  <a:gd name="connsiteY166" fmla="*/ 932417 h 969962"/>
                  <a:gd name="connsiteX167" fmla="*/ 652463 w 954088"/>
                  <a:gd name="connsiteY167" fmla="*/ 918957 h 969962"/>
                  <a:gd name="connsiteX168" fmla="*/ 652463 w 954088"/>
                  <a:gd name="connsiteY168" fmla="*/ 903373 h 969962"/>
                  <a:gd name="connsiteX169" fmla="*/ 652463 w 954088"/>
                  <a:gd name="connsiteY169" fmla="*/ 888496 h 969962"/>
                  <a:gd name="connsiteX170" fmla="*/ 684015 w 954088"/>
                  <a:gd name="connsiteY170" fmla="*/ 857327 h 969962"/>
                  <a:gd name="connsiteX171" fmla="*/ 710548 w 954088"/>
                  <a:gd name="connsiteY171" fmla="*/ 870786 h 969962"/>
                  <a:gd name="connsiteX172" fmla="*/ 739949 w 954088"/>
                  <a:gd name="connsiteY172" fmla="*/ 851660 h 969962"/>
                  <a:gd name="connsiteX173" fmla="*/ 762179 w 954088"/>
                  <a:gd name="connsiteY173" fmla="*/ 860869 h 969962"/>
                  <a:gd name="connsiteX174" fmla="*/ 764330 w 954088"/>
                  <a:gd name="connsiteY174" fmla="*/ 862994 h 969962"/>
                  <a:gd name="connsiteX175" fmla="*/ 795165 w 954088"/>
                  <a:gd name="connsiteY175" fmla="*/ 838200 h 969962"/>
                  <a:gd name="connsiteX176" fmla="*/ 150714 w 954088"/>
                  <a:gd name="connsiteY176" fmla="*/ 838200 h 969962"/>
                  <a:gd name="connsiteX177" fmla="*/ 182168 w 954088"/>
                  <a:gd name="connsiteY177" fmla="*/ 862994 h 969962"/>
                  <a:gd name="connsiteX178" fmla="*/ 183598 w 954088"/>
                  <a:gd name="connsiteY178" fmla="*/ 860869 h 969962"/>
                  <a:gd name="connsiteX179" fmla="*/ 206474 w 954088"/>
                  <a:gd name="connsiteY179" fmla="*/ 851660 h 969962"/>
                  <a:gd name="connsiteX180" fmla="*/ 235783 w 954088"/>
                  <a:gd name="connsiteY180" fmla="*/ 870786 h 969962"/>
                  <a:gd name="connsiteX181" fmla="*/ 261518 w 954088"/>
                  <a:gd name="connsiteY181" fmla="*/ 857327 h 969962"/>
                  <a:gd name="connsiteX182" fmla="*/ 293687 w 954088"/>
                  <a:gd name="connsiteY182" fmla="*/ 888496 h 969962"/>
                  <a:gd name="connsiteX183" fmla="*/ 293687 w 954088"/>
                  <a:gd name="connsiteY183" fmla="*/ 903373 h 969962"/>
                  <a:gd name="connsiteX184" fmla="*/ 293687 w 954088"/>
                  <a:gd name="connsiteY184" fmla="*/ 918957 h 969962"/>
                  <a:gd name="connsiteX185" fmla="*/ 293687 w 954088"/>
                  <a:gd name="connsiteY185" fmla="*/ 932417 h 969962"/>
                  <a:gd name="connsiteX186" fmla="*/ 293687 w 954088"/>
                  <a:gd name="connsiteY186" fmla="*/ 934542 h 969962"/>
                  <a:gd name="connsiteX187" fmla="*/ 289398 w 954088"/>
                  <a:gd name="connsiteY187" fmla="*/ 943043 h 969962"/>
                  <a:gd name="connsiteX188" fmla="*/ 278675 w 954088"/>
                  <a:gd name="connsiteY188" fmla="*/ 947293 h 969962"/>
                  <a:gd name="connsiteX189" fmla="*/ 245076 w 954088"/>
                  <a:gd name="connsiteY189" fmla="*/ 947293 h 969962"/>
                  <a:gd name="connsiteX190" fmla="*/ 237928 w 954088"/>
                  <a:gd name="connsiteY190" fmla="*/ 945877 h 969962"/>
                  <a:gd name="connsiteX191" fmla="*/ 237928 w 954088"/>
                  <a:gd name="connsiteY191" fmla="*/ 946585 h 969962"/>
                  <a:gd name="connsiteX192" fmla="*/ 237928 w 954088"/>
                  <a:gd name="connsiteY192" fmla="*/ 950127 h 969962"/>
                  <a:gd name="connsiteX193" fmla="*/ 222915 w 954088"/>
                  <a:gd name="connsiteY193" fmla="*/ 961461 h 969962"/>
                  <a:gd name="connsiteX194" fmla="*/ 190032 w 954088"/>
                  <a:gd name="connsiteY194" fmla="*/ 961461 h 969962"/>
                  <a:gd name="connsiteX195" fmla="*/ 178594 w 954088"/>
                  <a:gd name="connsiteY195" fmla="*/ 956503 h 969962"/>
                  <a:gd name="connsiteX196" fmla="*/ 178594 w 954088"/>
                  <a:gd name="connsiteY196" fmla="*/ 957211 h 969962"/>
                  <a:gd name="connsiteX197" fmla="*/ 167156 w 954088"/>
                  <a:gd name="connsiteY197" fmla="*/ 961461 h 969962"/>
                  <a:gd name="connsiteX198" fmla="*/ 134272 w 954088"/>
                  <a:gd name="connsiteY198" fmla="*/ 961461 h 969962"/>
                  <a:gd name="connsiteX199" fmla="*/ 126408 w 954088"/>
                  <a:gd name="connsiteY199" fmla="*/ 959336 h 969962"/>
                  <a:gd name="connsiteX200" fmla="*/ 122834 w 954088"/>
                  <a:gd name="connsiteY200" fmla="*/ 965712 h 969962"/>
                  <a:gd name="connsiteX201" fmla="*/ 122119 w 954088"/>
                  <a:gd name="connsiteY201" fmla="*/ 965712 h 969962"/>
                  <a:gd name="connsiteX202" fmla="*/ 112111 w 954088"/>
                  <a:gd name="connsiteY202" fmla="*/ 969962 h 969962"/>
                  <a:gd name="connsiteX203" fmla="*/ 79227 w 954088"/>
                  <a:gd name="connsiteY203" fmla="*/ 969962 h 969962"/>
                  <a:gd name="connsiteX204" fmla="*/ 68504 w 954088"/>
                  <a:gd name="connsiteY204" fmla="*/ 965712 h 969962"/>
                  <a:gd name="connsiteX205" fmla="*/ 63500 w 954088"/>
                  <a:gd name="connsiteY205" fmla="*/ 955086 h 969962"/>
                  <a:gd name="connsiteX206" fmla="*/ 63500 w 954088"/>
                  <a:gd name="connsiteY206" fmla="*/ 950127 h 969962"/>
                  <a:gd name="connsiteX207" fmla="*/ 63500 w 954088"/>
                  <a:gd name="connsiteY207" fmla="*/ 934542 h 969962"/>
                  <a:gd name="connsiteX208" fmla="*/ 63500 w 954088"/>
                  <a:gd name="connsiteY208" fmla="*/ 918957 h 969962"/>
                  <a:gd name="connsiteX209" fmla="*/ 63500 w 954088"/>
                  <a:gd name="connsiteY209" fmla="*/ 903373 h 969962"/>
                  <a:gd name="connsiteX210" fmla="*/ 63500 w 954088"/>
                  <a:gd name="connsiteY210" fmla="*/ 898414 h 969962"/>
                  <a:gd name="connsiteX211" fmla="*/ 72794 w 954088"/>
                  <a:gd name="connsiteY211" fmla="*/ 876454 h 969962"/>
                  <a:gd name="connsiteX212" fmla="*/ 94954 w 954088"/>
                  <a:gd name="connsiteY212" fmla="*/ 867244 h 969962"/>
                  <a:gd name="connsiteX213" fmla="*/ 95669 w 954088"/>
                  <a:gd name="connsiteY213" fmla="*/ 867244 h 969962"/>
                  <a:gd name="connsiteX214" fmla="*/ 119260 w 954088"/>
                  <a:gd name="connsiteY214" fmla="*/ 877870 h 969962"/>
                  <a:gd name="connsiteX215" fmla="*/ 119260 w 954088"/>
                  <a:gd name="connsiteY215" fmla="*/ 869370 h 969962"/>
                  <a:gd name="connsiteX216" fmla="*/ 150714 w 954088"/>
                  <a:gd name="connsiteY216" fmla="*/ 838200 h 969962"/>
                  <a:gd name="connsiteX217" fmla="*/ 741892 w 954088"/>
                  <a:gd name="connsiteY217" fmla="*/ 796925 h 969962"/>
                  <a:gd name="connsiteX218" fmla="*/ 872596 w 954088"/>
                  <a:gd name="connsiteY218" fmla="*/ 796925 h 969962"/>
                  <a:gd name="connsiteX219" fmla="*/ 882650 w 954088"/>
                  <a:gd name="connsiteY219" fmla="*/ 806450 h 969962"/>
                  <a:gd name="connsiteX220" fmla="*/ 872596 w 954088"/>
                  <a:gd name="connsiteY220" fmla="*/ 815975 h 969962"/>
                  <a:gd name="connsiteX221" fmla="*/ 741892 w 954088"/>
                  <a:gd name="connsiteY221" fmla="*/ 815975 h 969962"/>
                  <a:gd name="connsiteX222" fmla="*/ 731838 w 954088"/>
                  <a:gd name="connsiteY222" fmla="*/ 806450 h 969962"/>
                  <a:gd name="connsiteX223" fmla="*/ 741892 w 954088"/>
                  <a:gd name="connsiteY223" fmla="*/ 796925 h 969962"/>
                  <a:gd name="connsiteX224" fmla="*/ 851350 w 954088"/>
                  <a:gd name="connsiteY224" fmla="*/ 684213 h 969962"/>
                  <a:gd name="connsiteX225" fmla="*/ 852758 w 954088"/>
                  <a:gd name="connsiteY225" fmla="*/ 684213 h 969962"/>
                  <a:gd name="connsiteX226" fmla="*/ 853461 w 954088"/>
                  <a:gd name="connsiteY226" fmla="*/ 684930 h 969962"/>
                  <a:gd name="connsiteX227" fmla="*/ 853461 w 954088"/>
                  <a:gd name="connsiteY227" fmla="*/ 684213 h 969962"/>
                  <a:gd name="connsiteX228" fmla="*/ 854869 w 954088"/>
                  <a:gd name="connsiteY228" fmla="*/ 684213 h 969962"/>
                  <a:gd name="connsiteX229" fmla="*/ 856277 w 954088"/>
                  <a:gd name="connsiteY229" fmla="*/ 684213 h 969962"/>
                  <a:gd name="connsiteX230" fmla="*/ 856981 w 954088"/>
                  <a:gd name="connsiteY230" fmla="*/ 684213 h 969962"/>
                  <a:gd name="connsiteX231" fmla="*/ 858389 w 954088"/>
                  <a:gd name="connsiteY231" fmla="*/ 684213 h 969962"/>
                  <a:gd name="connsiteX232" fmla="*/ 858389 w 954088"/>
                  <a:gd name="connsiteY232" fmla="*/ 684930 h 969962"/>
                  <a:gd name="connsiteX233" fmla="*/ 859796 w 954088"/>
                  <a:gd name="connsiteY233" fmla="*/ 685647 h 969962"/>
                  <a:gd name="connsiteX234" fmla="*/ 860500 w 954088"/>
                  <a:gd name="connsiteY234" fmla="*/ 685647 h 969962"/>
                  <a:gd name="connsiteX235" fmla="*/ 861908 w 954088"/>
                  <a:gd name="connsiteY235" fmla="*/ 687082 h 969962"/>
                  <a:gd name="connsiteX236" fmla="*/ 889360 w 954088"/>
                  <a:gd name="connsiteY236" fmla="*/ 715057 h 969962"/>
                  <a:gd name="connsiteX237" fmla="*/ 892175 w 954088"/>
                  <a:gd name="connsiteY237" fmla="*/ 721513 h 969962"/>
                  <a:gd name="connsiteX238" fmla="*/ 889360 w 954088"/>
                  <a:gd name="connsiteY238" fmla="*/ 728686 h 969962"/>
                  <a:gd name="connsiteX239" fmla="*/ 882321 w 954088"/>
                  <a:gd name="connsiteY239" fmla="*/ 731555 h 969962"/>
                  <a:gd name="connsiteX240" fmla="*/ 875986 w 954088"/>
                  <a:gd name="connsiteY240" fmla="*/ 728686 h 969962"/>
                  <a:gd name="connsiteX241" fmla="*/ 864724 w 954088"/>
                  <a:gd name="connsiteY241" fmla="*/ 717209 h 969962"/>
                  <a:gd name="connsiteX242" fmla="*/ 864724 w 954088"/>
                  <a:gd name="connsiteY242" fmla="*/ 771725 h 969962"/>
                  <a:gd name="connsiteX243" fmla="*/ 854869 w 954088"/>
                  <a:gd name="connsiteY243" fmla="*/ 781050 h 969962"/>
                  <a:gd name="connsiteX244" fmla="*/ 845015 w 954088"/>
                  <a:gd name="connsiteY244" fmla="*/ 771725 h 969962"/>
                  <a:gd name="connsiteX245" fmla="*/ 845015 w 954088"/>
                  <a:gd name="connsiteY245" fmla="*/ 717209 h 969962"/>
                  <a:gd name="connsiteX246" fmla="*/ 833753 w 954088"/>
                  <a:gd name="connsiteY246" fmla="*/ 728686 h 969962"/>
                  <a:gd name="connsiteX247" fmla="*/ 827418 w 954088"/>
                  <a:gd name="connsiteY247" fmla="*/ 731555 h 969962"/>
                  <a:gd name="connsiteX248" fmla="*/ 820379 w 954088"/>
                  <a:gd name="connsiteY248" fmla="*/ 728686 h 969962"/>
                  <a:gd name="connsiteX249" fmla="*/ 817563 w 954088"/>
                  <a:gd name="connsiteY249" fmla="*/ 721513 h 969962"/>
                  <a:gd name="connsiteX250" fmla="*/ 820379 w 954088"/>
                  <a:gd name="connsiteY250" fmla="*/ 715057 h 969962"/>
                  <a:gd name="connsiteX251" fmla="*/ 847830 w 954088"/>
                  <a:gd name="connsiteY251" fmla="*/ 687082 h 969962"/>
                  <a:gd name="connsiteX252" fmla="*/ 849238 w 954088"/>
                  <a:gd name="connsiteY252" fmla="*/ 685647 h 969962"/>
                  <a:gd name="connsiteX253" fmla="*/ 849942 w 954088"/>
                  <a:gd name="connsiteY253" fmla="*/ 685647 h 969962"/>
                  <a:gd name="connsiteX254" fmla="*/ 851350 w 954088"/>
                  <a:gd name="connsiteY254" fmla="*/ 684930 h 969962"/>
                  <a:gd name="connsiteX255" fmla="*/ 851350 w 954088"/>
                  <a:gd name="connsiteY255" fmla="*/ 684213 h 969962"/>
                  <a:gd name="connsiteX256" fmla="*/ 755231 w 954088"/>
                  <a:gd name="connsiteY256" fmla="*/ 684213 h 969962"/>
                  <a:gd name="connsiteX257" fmla="*/ 756669 w 954088"/>
                  <a:gd name="connsiteY257" fmla="*/ 684213 h 969962"/>
                  <a:gd name="connsiteX258" fmla="*/ 757388 w 954088"/>
                  <a:gd name="connsiteY258" fmla="*/ 684930 h 969962"/>
                  <a:gd name="connsiteX259" fmla="*/ 757388 w 954088"/>
                  <a:gd name="connsiteY259" fmla="*/ 684213 h 969962"/>
                  <a:gd name="connsiteX260" fmla="*/ 758825 w 954088"/>
                  <a:gd name="connsiteY260" fmla="*/ 684213 h 969962"/>
                  <a:gd name="connsiteX261" fmla="*/ 760263 w 954088"/>
                  <a:gd name="connsiteY261" fmla="*/ 684213 h 969962"/>
                  <a:gd name="connsiteX262" fmla="*/ 760982 w 954088"/>
                  <a:gd name="connsiteY262" fmla="*/ 684213 h 969962"/>
                  <a:gd name="connsiteX263" fmla="*/ 762420 w 954088"/>
                  <a:gd name="connsiteY263" fmla="*/ 684213 h 969962"/>
                  <a:gd name="connsiteX264" fmla="*/ 762420 w 954088"/>
                  <a:gd name="connsiteY264" fmla="*/ 684930 h 969962"/>
                  <a:gd name="connsiteX265" fmla="*/ 763857 w 954088"/>
                  <a:gd name="connsiteY265" fmla="*/ 685647 h 969962"/>
                  <a:gd name="connsiteX266" fmla="*/ 764576 w 954088"/>
                  <a:gd name="connsiteY266" fmla="*/ 685647 h 969962"/>
                  <a:gd name="connsiteX267" fmla="*/ 766014 w 954088"/>
                  <a:gd name="connsiteY267" fmla="*/ 687082 h 969962"/>
                  <a:gd name="connsiteX268" fmla="*/ 794050 w 954088"/>
                  <a:gd name="connsiteY268" fmla="*/ 715057 h 969962"/>
                  <a:gd name="connsiteX269" fmla="*/ 796925 w 954088"/>
                  <a:gd name="connsiteY269" fmla="*/ 721513 h 969962"/>
                  <a:gd name="connsiteX270" fmla="*/ 794050 w 954088"/>
                  <a:gd name="connsiteY270" fmla="*/ 728686 h 969962"/>
                  <a:gd name="connsiteX271" fmla="*/ 786861 w 954088"/>
                  <a:gd name="connsiteY271" fmla="*/ 731555 h 969962"/>
                  <a:gd name="connsiteX272" fmla="*/ 780391 w 954088"/>
                  <a:gd name="connsiteY272" fmla="*/ 728686 h 969962"/>
                  <a:gd name="connsiteX273" fmla="*/ 768889 w 954088"/>
                  <a:gd name="connsiteY273" fmla="*/ 717209 h 969962"/>
                  <a:gd name="connsiteX274" fmla="*/ 768889 w 954088"/>
                  <a:gd name="connsiteY274" fmla="*/ 771725 h 969962"/>
                  <a:gd name="connsiteX275" fmla="*/ 758825 w 954088"/>
                  <a:gd name="connsiteY275" fmla="*/ 781050 h 969962"/>
                  <a:gd name="connsiteX276" fmla="*/ 748761 w 954088"/>
                  <a:gd name="connsiteY276" fmla="*/ 771725 h 969962"/>
                  <a:gd name="connsiteX277" fmla="*/ 748761 w 954088"/>
                  <a:gd name="connsiteY277" fmla="*/ 717209 h 969962"/>
                  <a:gd name="connsiteX278" fmla="*/ 737259 w 954088"/>
                  <a:gd name="connsiteY278" fmla="*/ 728686 h 969962"/>
                  <a:gd name="connsiteX279" fmla="*/ 730789 w 954088"/>
                  <a:gd name="connsiteY279" fmla="*/ 731555 h 969962"/>
                  <a:gd name="connsiteX280" fmla="*/ 723601 w 954088"/>
                  <a:gd name="connsiteY280" fmla="*/ 728686 h 969962"/>
                  <a:gd name="connsiteX281" fmla="*/ 720725 w 954088"/>
                  <a:gd name="connsiteY281" fmla="*/ 721513 h 969962"/>
                  <a:gd name="connsiteX282" fmla="*/ 723601 w 954088"/>
                  <a:gd name="connsiteY282" fmla="*/ 715057 h 969962"/>
                  <a:gd name="connsiteX283" fmla="*/ 751637 w 954088"/>
                  <a:gd name="connsiteY283" fmla="*/ 687082 h 969962"/>
                  <a:gd name="connsiteX284" fmla="*/ 753074 w 954088"/>
                  <a:gd name="connsiteY284" fmla="*/ 685647 h 969962"/>
                  <a:gd name="connsiteX285" fmla="*/ 753793 w 954088"/>
                  <a:gd name="connsiteY285" fmla="*/ 685647 h 969962"/>
                  <a:gd name="connsiteX286" fmla="*/ 755231 w 954088"/>
                  <a:gd name="connsiteY286" fmla="*/ 684930 h 969962"/>
                  <a:gd name="connsiteX287" fmla="*/ 755231 w 954088"/>
                  <a:gd name="connsiteY287" fmla="*/ 684213 h 969962"/>
                  <a:gd name="connsiteX288" fmla="*/ 73508 w 954088"/>
                  <a:gd name="connsiteY288" fmla="*/ 579438 h 969962"/>
                  <a:gd name="connsiteX289" fmla="*/ 161441 w 954088"/>
                  <a:gd name="connsiteY289" fmla="*/ 579438 h 969962"/>
                  <a:gd name="connsiteX290" fmla="*/ 171450 w 954088"/>
                  <a:gd name="connsiteY290" fmla="*/ 588963 h 969962"/>
                  <a:gd name="connsiteX291" fmla="*/ 161441 w 954088"/>
                  <a:gd name="connsiteY291" fmla="*/ 598488 h 969962"/>
                  <a:gd name="connsiteX292" fmla="*/ 73508 w 954088"/>
                  <a:gd name="connsiteY292" fmla="*/ 598488 h 969962"/>
                  <a:gd name="connsiteX293" fmla="*/ 63500 w 954088"/>
                  <a:gd name="connsiteY293" fmla="*/ 588963 h 969962"/>
                  <a:gd name="connsiteX294" fmla="*/ 73508 w 954088"/>
                  <a:gd name="connsiteY294" fmla="*/ 579438 h 969962"/>
                  <a:gd name="connsiteX295" fmla="*/ 73433 w 954088"/>
                  <a:gd name="connsiteY295" fmla="*/ 542925 h 969962"/>
                  <a:gd name="connsiteX296" fmla="*/ 180567 w 954088"/>
                  <a:gd name="connsiteY296" fmla="*/ 542925 h 969962"/>
                  <a:gd name="connsiteX297" fmla="*/ 190500 w 954088"/>
                  <a:gd name="connsiteY297" fmla="*/ 552450 h 969962"/>
                  <a:gd name="connsiteX298" fmla="*/ 180567 w 954088"/>
                  <a:gd name="connsiteY298" fmla="*/ 561975 h 969962"/>
                  <a:gd name="connsiteX299" fmla="*/ 73433 w 954088"/>
                  <a:gd name="connsiteY299" fmla="*/ 561975 h 969962"/>
                  <a:gd name="connsiteX300" fmla="*/ 63500 w 954088"/>
                  <a:gd name="connsiteY300" fmla="*/ 552450 h 969962"/>
                  <a:gd name="connsiteX301" fmla="*/ 73433 w 954088"/>
                  <a:gd name="connsiteY301" fmla="*/ 542925 h 969962"/>
                  <a:gd name="connsiteX302" fmla="*/ 73474 w 954088"/>
                  <a:gd name="connsiteY302" fmla="*/ 506413 h 969962"/>
                  <a:gd name="connsiteX303" fmla="*/ 199576 w 954088"/>
                  <a:gd name="connsiteY303" fmla="*/ 506413 h 969962"/>
                  <a:gd name="connsiteX304" fmla="*/ 209550 w 954088"/>
                  <a:gd name="connsiteY304" fmla="*/ 515938 h 969962"/>
                  <a:gd name="connsiteX305" fmla="*/ 199576 w 954088"/>
                  <a:gd name="connsiteY305" fmla="*/ 525463 h 969962"/>
                  <a:gd name="connsiteX306" fmla="*/ 73474 w 954088"/>
                  <a:gd name="connsiteY306" fmla="*/ 525463 h 969962"/>
                  <a:gd name="connsiteX307" fmla="*/ 63500 w 954088"/>
                  <a:gd name="connsiteY307" fmla="*/ 515938 h 969962"/>
                  <a:gd name="connsiteX308" fmla="*/ 73474 w 954088"/>
                  <a:gd name="connsiteY308" fmla="*/ 506413 h 969962"/>
                  <a:gd name="connsiteX309" fmla="*/ 592138 w 954088"/>
                  <a:gd name="connsiteY309" fmla="*/ 434975 h 969962"/>
                  <a:gd name="connsiteX310" fmla="*/ 898900 w 954088"/>
                  <a:gd name="connsiteY310" fmla="*/ 434975 h 969962"/>
                  <a:gd name="connsiteX311" fmla="*/ 907501 w 954088"/>
                  <a:gd name="connsiteY311" fmla="*/ 434975 h 969962"/>
                  <a:gd name="connsiteX312" fmla="*/ 915385 w 954088"/>
                  <a:gd name="connsiteY312" fmla="*/ 434975 h 969962"/>
                  <a:gd name="connsiteX313" fmla="*/ 921119 w 954088"/>
                  <a:gd name="connsiteY313" fmla="*/ 434975 h 969962"/>
                  <a:gd name="connsiteX314" fmla="*/ 938320 w 954088"/>
                  <a:gd name="connsiteY314" fmla="*/ 434975 h 969962"/>
                  <a:gd name="connsiteX315" fmla="*/ 954088 w 954088"/>
                  <a:gd name="connsiteY315" fmla="*/ 450714 h 969962"/>
                  <a:gd name="connsiteX316" fmla="*/ 954088 w 954088"/>
                  <a:gd name="connsiteY316" fmla="*/ 919298 h 969962"/>
                  <a:gd name="connsiteX317" fmla="*/ 938320 w 954088"/>
                  <a:gd name="connsiteY317" fmla="*/ 935037 h 969962"/>
                  <a:gd name="connsiteX318" fmla="*/ 898900 w 954088"/>
                  <a:gd name="connsiteY318" fmla="*/ 935037 h 969962"/>
                  <a:gd name="connsiteX319" fmla="*/ 898900 w 954088"/>
                  <a:gd name="connsiteY319" fmla="*/ 919298 h 969962"/>
                  <a:gd name="connsiteX320" fmla="*/ 898900 w 954088"/>
                  <a:gd name="connsiteY320" fmla="*/ 903560 h 969962"/>
                  <a:gd name="connsiteX321" fmla="*/ 922552 w 954088"/>
                  <a:gd name="connsiteY321" fmla="*/ 903560 h 969962"/>
                  <a:gd name="connsiteX322" fmla="*/ 922552 w 954088"/>
                  <a:gd name="connsiteY322" fmla="*/ 466452 h 969962"/>
                  <a:gd name="connsiteX323" fmla="*/ 916101 w 954088"/>
                  <a:gd name="connsiteY323" fmla="*/ 466452 h 969962"/>
                  <a:gd name="connsiteX324" fmla="*/ 911084 w 954088"/>
                  <a:gd name="connsiteY324" fmla="*/ 466452 h 969962"/>
                  <a:gd name="connsiteX325" fmla="*/ 898183 w 954088"/>
                  <a:gd name="connsiteY325" fmla="*/ 466452 h 969962"/>
                  <a:gd name="connsiteX326" fmla="*/ 592138 w 954088"/>
                  <a:gd name="connsiteY326" fmla="*/ 466452 h 969962"/>
                  <a:gd name="connsiteX327" fmla="*/ 592138 w 954088"/>
                  <a:gd name="connsiteY327" fmla="*/ 460014 h 969962"/>
                  <a:gd name="connsiteX328" fmla="*/ 592138 w 954088"/>
                  <a:gd name="connsiteY328" fmla="*/ 450714 h 969962"/>
                  <a:gd name="connsiteX329" fmla="*/ 592138 w 954088"/>
                  <a:gd name="connsiteY329" fmla="*/ 434975 h 969962"/>
                  <a:gd name="connsiteX330" fmla="*/ 15699 w 954088"/>
                  <a:gd name="connsiteY330" fmla="*/ 434975 h 969962"/>
                  <a:gd name="connsiteX331" fmla="*/ 32825 w 954088"/>
                  <a:gd name="connsiteY331" fmla="*/ 434975 h 969962"/>
                  <a:gd name="connsiteX332" fmla="*/ 38534 w 954088"/>
                  <a:gd name="connsiteY332" fmla="*/ 434975 h 969962"/>
                  <a:gd name="connsiteX333" fmla="*/ 47097 w 954088"/>
                  <a:gd name="connsiteY333" fmla="*/ 434975 h 969962"/>
                  <a:gd name="connsiteX334" fmla="*/ 54946 w 954088"/>
                  <a:gd name="connsiteY334" fmla="*/ 434975 h 969962"/>
                  <a:gd name="connsiteX335" fmla="*/ 360362 w 954088"/>
                  <a:gd name="connsiteY335" fmla="*/ 434975 h 969962"/>
                  <a:gd name="connsiteX336" fmla="*/ 360362 w 954088"/>
                  <a:gd name="connsiteY336" fmla="*/ 450714 h 969962"/>
                  <a:gd name="connsiteX337" fmla="*/ 360362 w 954088"/>
                  <a:gd name="connsiteY337" fmla="*/ 460014 h 969962"/>
                  <a:gd name="connsiteX338" fmla="*/ 360362 w 954088"/>
                  <a:gd name="connsiteY338" fmla="*/ 466452 h 969962"/>
                  <a:gd name="connsiteX339" fmla="*/ 55660 w 954088"/>
                  <a:gd name="connsiteY339" fmla="*/ 466452 h 969962"/>
                  <a:gd name="connsiteX340" fmla="*/ 42815 w 954088"/>
                  <a:gd name="connsiteY340" fmla="*/ 466452 h 969962"/>
                  <a:gd name="connsiteX341" fmla="*/ 37820 w 954088"/>
                  <a:gd name="connsiteY341" fmla="*/ 466452 h 969962"/>
                  <a:gd name="connsiteX342" fmla="*/ 31398 w 954088"/>
                  <a:gd name="connsiteY342" fmla="*/ 466452 h 969962"/>
                  <a:gd name="connsiteX343" fmla="*/ 31398 w 954088"/>
                  <a:gd name="connsiteY343" fmla="*/ 903560 h 969962"/>
                  <a:gd name="connsiteX344" fmla="*/ 48524 w 954088"/>
                  <a:gd name="connsiteY344" fmla="*/ 903560 h 969962"/>
                  <a:gd name="connsiteX345" fmla="*/ 48524 w 954088"/>
                  <a:gd name="connsiteY345" fmla="*/ 919298 h 969962"/>
                  <a:gd name="connsiteX346" fmla="*/ 48524 w 954088"/>
                  <a:gd name="connsiteY346" fmla="*/ 935037 h 969962"/>
                  <a:gd name="connsiteX347" fmla="*/ 15699 w 954088"/>
                  <a:gd name="connsiteY347" fmla="*/ 935037 h 969962"/>
                  <a:gd name="connsiteX348" fmla="*/ 0 w 954088"/>
                  <a:gd name="connsiteY348" fmla="*/ 919298 h 969962"/>
                  <a:gd name="connsiteX349" fmla="*/ 0 w 954088"/>
                  <a:gd name="connsiteY349" fmla="*/ 450714 h 969962"/>
                  <a:gd name="connsiteX350" fmla="*/ 15699 w 954088"/>
                  <a:gd name="connsiteY350" fmla="*/ 434975 h 969962"/>
                  <a:gd name="connsiteX351" fmla="*/ 249953 w 954088"/>
                  <a:gd name="connsiteY351" fmla="*/ 0 h 969962"/>
                  <a:gd name="connsiteX352" fmla="*/ 270680 w 954088"/>
                  <a:gd name="connsiteY352" fmla="*/ 7849 h 969962"/>
                  <a:gd name="connsiteX353" fmla="*/ 273539 w 954088"/>
                  <a:gd name="connsiteY353" fmla="*/ 7849 h 969962"/>
                  <a:gd name="connsiteX354" fmla="*/ 297126 w 954088"/>
                  <a:gd name="connsiteY354" fmla="*/ 38530 h 969962"/>
                  <a:gd name="connsiteX355" fmla="*/ 302129 w 954088"/>
                  <a:gd name="connsiteY355" fmla="*/ 44239 h 969962"/>
                  <a:gd name="connsiteX356" fmla="*/ 370031 w 954088"/>
                  <a:gd name="connsiteY356" fmla="*/ 186945 h 969962"/>
                  <a:gd name="connsiteX357" fmla="*/ 476528 w 954088"/>
                  <a:gd name="connsiteY357" fmla="*/ 239746 h 969962"/>
                  <a:gd name="connsiteX358" fmla="*/ 582311 w 954088"/>
                  <a:gd name="connsiteY358" fmla="*/ 186945 h 969962"/>
                  <a:gd name="connsiteX359" fmla="*/ 650213 w 954088"/>
                  <a:gd name="connsiteY359" fmla="*/ 44239 h 969962"/>
                  <a:gd name="connsiteX360" fmla="*/ 655931 w 954088"/>
                  <a:gd name="connsiteY360" fmla="*/ 38530 h 969962"/>
                  <a:gd name="connsiteX361" fmla="*/ 671656 w 954088"/>
                  <a:gd name="connsiteY361" fmla="*/ 24260 h 969962"/>
                  <a:gd name="connsiteX362" fmla="*/ 690954 w 954088"/>
                  <a:gd name="connsiteY362" fmla="*/ 17838 h 969962"/>
                  <a:gd name="connsiteX363" fmla="*/ 691669 w 954088"/>
                  <a:gd name="connsiteY363" fmla="*/ 17838 h 969962"/>
                  <a:gd name="connsiteX364" fmla="*/ 692383 w 954088"/>
                  <a:gd name="connsiteY364" fmla="*/ 17125 h 969962"/>
                  <a:gd name="connsiteX365" fmla="*/ 701675 w 954088"/>
                  <a:gd name="connsiteY365" fmla="*/ 12130 h 969962"/>
                  <a:gd name="connsiteX366" fmla="*/ 670226 w 954088"/>
                  <a:gd name="connsiteY366" fmla="*/ 56369 h 969962"/>
                  <a:gd name="connsiteX367" fmla="*/ 602324 w 954088"/>
                  <a:gd name="connsiteY367" fmla="*/ 198361 h 969962"/>
                  <a:gd name="connsiteX368" fmla="*/ 602324 w 954088"/>
                  <a:gd name="connsiteY368" fmla="*/ 243313 h 969962"/>
                  <a:gd name="connsiteX369" fmla="*/ 598036 w 954088"/>
                  <a:gd name="connsiteY369" fmla="*/ 249022 h 969962"/>
                  <a:gd name="connsiteX370" fmla="*/ 579452 w 954088"/>
                  <a:gd name="connsiteY370" fmla="*/ 268287 h 969962"/>
                  <a:gd name="connsiteX371" fmla="*/ 579452 w 954088"/>
                  <a:gd name="connsiteY371" fmla="*/ 217626 h 969962"/>
                  <a:gd name="connsiteX372" fmla="*/ 476528 w 954088"/>
                  <a:gd name="connsiteY372" fmla="*/ 262579 h 969962"/>
                  <a:gd name="connsiteX373" fmla="*/ 373604 w 954088"/>
                  <a:gd name="connsiteY373" fmla="*/ 218340 h 969962"/>
                  <a:gd name="connsiteX374" fmla="*/ 373604 w 954088"/>
                  <a:gd name="connsiteY374" fmla="*/ 268287 h 969962"/>
                  <a:gd name="connsiteX375" fmla="*/ 355021 w 954088"/>
                  <a:gd name="connsiteY375" fmla="*/ 249022 h 969962"/>
                  <a:gd name="connsiteX376" fmla="*/ 350732 w 954088"/>
                  <a:gd name="connsiteY376" fmla="*/ 243313 h 969962"/>
                  <a:gd name="connsiteX377" fmla="*/ 350732 w 954088"/>
                  <a:gd name="connsiteY377" fmla="*/ 199075 h 969962"/>
                  <a:gd name="connsiteX378" fmla="*/ 282831 w 954088"/>
                  <a:gd name="connsiteY378" fmla="*/ 56369 h 969962"/>
                  <a:gd name="connsiteX379" fmla="*/ 249953 w 954088"/>
                  <a:gd name="connsiteY379" fmla="*/ 5708 h 969962"/>
                  <a:gd name="connsiteX380" fmla="*/ 249953 w 954088"/>
                  <a:gd name="connsiteY380" fmla="*/ 0 h 96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Lst>
                <a:rect l="l" t="t" r="r" b="b"/>
                <a:pathLst>
                  <a:path w="954088" h="969962">
                    <a:moveTo>
                      <a:pt x="309563" y="903288"/>
                    </a:moveTo>
                    <a:cubicBezTo>
                      <a:pt x="309563" y="903288"/>
                      <a:pt x="309563" y="903288"/>
                      <a:pt x="638175" y="903288"/>
                    </a:cubicBezTo>
                    <a:cubicBezTo>
                      <a:pt x="638175" y="903288"/>
                      <a:pt x="638175" y="903288"/>
                      <a:pt x="638175" y="919163"/>
                    </a:cubicBezTo>
                    <a:lnTo>
                      <a:pt x="638175" y="932873"/>
                    </a:lnTo>
                    <a:cubicBezTo>
                      <a:pt x="638175" y="933595"/>
                      <a:pt x="638175" y="934317"/>
                      <a:pt x="638175" y="935038"/>
                    </a:cubicBezTo>
                    <a:cubicBezTo>
                      <a:pt x="638175" y="935038"/>
                      <a:pt x="638175" y="935038"/>
                      <a:pt x="309563" y="935038"/>
                    </a:cubicBezTo>
                    <a:cubicBezTo>
                      <a:pt x="309563" y="934317"/>
                      <a:pt x="309563" y="933595"/>
                      <a:pt x="309563" y="932873"/>
                    </a:cubicBezTo>
                    <a:cubicBezTo>
                      <a:pt x="309563" y="932873"/>
                      <a:pt x="309563" y="932873"/>
                      <a:pt x="309563" y="919163"/>
                    </a:cubicBezTo>
                    <a:cubicBezTo>
                      <a:pt x="309563" y="919163"/>
                      <a:pt x="309563" y="919163"/>
                      <a:pt x="309563" y="903288"/>
                    </a:cubicBezTo>
                    <a:close/>
                    <a:moveTo>
                      <a:pt x="851263" y="877888"/>
                    </a:moveTo>
                    <a:cubicBezTo>
                      <a:pt x="839677" y="877888"/>
                      <a:pt x="830987" y="887202"/>
                      <a:pt x="830987" y="897950"/>
                    </a:cubicBezTo>
                    <a:cubicBezTo>
                      <a:pt x="830987" y="897950"/>
                      <a:pt x="830987" y="897950"/>
                      <a:pt x="830987" y="902965"/>
                    </a:cubicBezTo>
                    <a:cubicBezTo>
                      <a:pt x="830987" y="902965"/>
                      <a:pt x="830987" y="902965"/>
                      <a:pt x="830987" y="918727"/>
                    </a:cubicBezTo>
                    <a:cubicBezTo>
                      <a:pt x="830987" y="918727"/>
                      <a:pt x="830987" y="918727"/>
                      <a:pt x="830263" y="934490"/>
                    </a:cubicBezTo>
                    <a:cubicBezTo>
                      <a:pt x="830263" y="934490"/>
                      <a:pt x="830263" y="934490"/>
                      <a:pt x="830263" y="950252"/>
                    </a:cubicBezTo>
                    <a:cubicBezTo>
                      <a:pt x="830263" y="950252"/>
                      <a:pt x="830263" y="950252"/>
                      <a:pt x="830263" y="955268"/>
                    </a:cubicBezTo>
                    <a:cubicBezTo>
                      <a:pt x="830263" y="957417"/>
                      <a:pt x="832436" y="958850"/>
                      <a:pt x="834608" y="958850"/>
                    </a:cubicBezTo>
                    <a:cubicBezTo>
                      <a:pt x="834608" y="958850"/>
                      <a:pt x="834608" y="958850"/>
                      <a:pt x="867918" y="958850"/>
                    </a:cubicBezTo>
                    <a:cubicBezTo>
                      <a:pt x="870090" y="958850"/>
                      <a:pt x="871538" y="957417"/>
                      <a:pt x="871538" y="955268"/>
                    </a:cubicBezTo>
                    <a:cubicBezTo>
                      <a:pt x="871538" y="955268"/>
                      <a:pt x="871538" y="955268"/>
                      <a:pt x="871538" y="950252"/>
                    </a:cubicBezTo>
                    <a:cubicBezTo>
                      <a:pt x="871538" y="950252"/>
                      <a:pt x="871538" y="950252"/>
                      <a:pt x="871538" y="934490"/>
                    </a:cubicBezTo>
                    <a:cubicBezTo>
                      <a:pt x="871538" y="934490"/>
                      <a:pt x="871538" y="934490"/>
                      <a:pt x="871538" y="918727"/>
                    </a:cubicBezTo>
                    <a:cubicBezTo>
                      <a:pt x="871538" y="918727"/>
                      <a:pt x="871538" y="918727"/>
                      <a:pt x="871538" y="902965"/>
                    </a:cubicBezTo>
                    <a:lnTo>
                      <a:pt x="871538" y="897950"/>
                    </a:lnTo>
                    <a:cubicBezTo>
                      <a:pt x="871538" y="887202"/>
                      <a:pt x="862849" y="877888"/>
                      <a:pt x="851263" y="877888"/>
                    </a:cubicBezTo>
                    <a:close/>
                    <a:moveTo>
                      <a:pt x="95613" y="877888"/>
                    </a:moveTo>
                    <a:cubicBezTo>
                      <a:pt x="84027" y="877888"/>
                      <a:pt x="74613" y="887202"/>
                      <a:pt x="74613" y="897950"/>
                    </a:cubicBezTo>
                    <a:cubicBezTo>
                      <a:pt x="74613" y="897950"/>
                      <a:pt x="74613" y="897950"/>
                      <a:pt x="74613" y="902965"/>
                    </a:cubicBezTo>
                    <a:cubicBezTo>
                      <a:pt x="74613" y="902965"/>
                      <a:pt x="74613" y="902965"/>
                      <a:pt x="74613" y="918727"/>
                    </a:cubicBezTo>
                    <a:cubicBezTo>
                      <a:pt x="74613" y="918727"/>
                      <a:pt x="74613" y="918727"/>
                      <a:pt x="74613" y="934490"/>
                    </a:cubicBezTo>
                    <a:lnTo>
                      <a:pt x="74613" y="950252"/>
                    </a:lnTo>
                    <a:cubicBezTo>
                      <a:pt x="74613" y="950252"/>
                      <a:pt x="74613" y="950252"/>
                      <a:pt x="74613" y="955268"/>
                    </a:cubicBezTo>
                    <a:cubicBezTo>
                      <a:pt x="74613" y="957417"/>
                      <a:pt x="76786" y="958850"/>
                      <a:pt x="78958" y="958850"/>
                    </a:cubicBezTo>
                    <a:cubicBezTo>
                      <a:pt x="78958" y="958850"/>
                      <a:pt x="78958" y="958850"/>
                      <a:pt x="112268" y="958850"/>
                    </a:cubicBezTo>
                    <a:cubicBezTo>
                      <a:pt x="112992" y="958850"/>
                      <a:pt x="114440" y="958134"/>
                      <a:pt x="115164" y="957417"/>
                    </a:cubicBezTo>
                    <a:cubicBezTo>
                      <a:pt x="115888" y="956701"/>
                      <a:pt x="115888" y="955984"/>
                      <a:pt x="115888" y="955268"/>
                    </a:cubicBezTo>
                    <a:cubicBezTo>
                      <a:pt x="115888" y="955268"/>
                      <a:pt x="115888" y="955268"/>
                      <a:pt x="115888" y="950252"/>
                    </a:cubicBezTo>
                    <a:cubicBezTo>
                      <a:pt x="115888" y="950252"/>
                      <a:pt x="115888" y="950252"/>
                      <a:pt x="115888" y="934490"/>
                    </a:cubicBezTo>
                    <a:cubicBezTo>
                      <a:pt x="115888" y="934490"/>
                      <a:pt x="115888" y="934490"/>
                      <a:pt x="115888" y="918727"/>
                    </a:cubicBezTo>
                    <a:cubicBezTo>
                      <a:pt x="115888" y="918727"/>
                      <a:pt x="115888" y="918727"/>
                      <a:pt x="115888" y="902965"/>
                    </a:cubicBezTo>
                    <a:cubicBezTo>
                      <a:pt x="115888" y="902965"/>
                      <a:pt x="115888" y="902965"/>
                      <a:pt x="115888" y="897950"/>
                    </a:cubicBezTo>
                    <a:cubicBezTo>
                      <a:pt x="115888" y="887202"/>
                      <a:pt x="106475" y="877888"/>
                      <a:pt x="95613" y="877888"/>
                    </a:cubicBezTo>
                    <a:close/>
                    <a:moveTo>
                      <a:pt x="684659" y="868363"/>
                    </a:moveTo>
                    <a:cubicBezTo>
                      <a:pt x="673518" y="868363"/>
                      <a:pt x="665163" y="877704"/>
                      <a:pt x="665163" y="888482"/>
                    </a:cubicBezTo>
                    <a:cubicBezTo>
                      <a:pt x="665163" y="888482"/>
                      <a:pt x="665163" y="888482"/>
                      <a:pt x="665163" y="903572"/>
                    </a:cubicBezTo>
                    <a:cubicBezTo>
                      <a:pt x="665163" y="903572"/>
                      <a:pt x="665163" y="903572"/>
                      <a:pt x="665163" y="919380"/>
                    </a:cubicBezTo>
                    <a:cubicBezTo>
                      <a:pt x="665163" y="919380"/>
                      <a:pt x="665163" y="919380"/>
                      <a:pt x="665163" y="933032"/>
                    </a:cubicBezTo>
                    <a:cubicBezTo>
                      <a:pt x="665163" y="933751"/>
                      <a:pt x="665163" y="934469"/>
                      <a:pt x="665860" y="935188"/>
                    </a:cubicBezTo>
                    <a:cubicBezTo>
                      <a:pt x="665860" y="935188"/>
                      <a:pt x="665860" y="935907"/>
                      <a:pt x="665860" y="935907"/>
                    </a:cubicBezTo>
                    <a:cubicBezTo>
                      <a:pt x="666556" y="936625"/>
                      <a:pt x="667252" y="936625"/>
                      <a:pt x="668645" y="936625"/>
                    </a:cubicBezTo>
                    <a:cubicBezTo>
                      <a:pt x="668645" y="936625"/>
                      <a:pt x="668645" y="936625"/>
                      <a:pt x="700673" y="936625"/>
                    </a:cubicBezTo>
                    <a:cubicBezTo>
                      <a:pt x="702065" y="936625"/>
                      <a:pt x="702761" y="935907"/>
                      <a:pt x="703458" y="935188"/>
                    </a:cubicBezTo>
                    <a:cubicBezTo>
                      <a:pt x="704154" y="934469"/>
                      <a:pt x="704154" y="933751"/>
                      <a:pt x="704154" y="933032"/>
                    </a:cubicBezTo>
                    <a:lnTo>
                      <a:pt x="704154" y="919380"/>
                    </a:lnTo>
                    <a:cubicBezTo>
                      <a:pt x="704154" y="919380"/>
                      <a:pt x="704154" y="919380"/>
                      <a:pt x="704154" y="903572"/>
                    </a:cubicBezTo>
                    <a:cubicBezTo>
                      <a:pt x="704154" y="903572"/>
                      <a:pt x="704154" y="903572"/>
                      <a:pt x="704154" y="888482"/>
                    </a:cubicBezTo>
                    <a:cubicBezTo>
                      <a:pt x="704850" y="877704"/>
                      <a:pt x="695799" y="868363"/>
                      <a:pt x="684659" y="868363"/>
                    </a:cubicBezTo>
                    <a:close/>
                    <a:moveTo>
                      <a:pt x="261576" y="868363"/>
                    </a:moveTo>
                    <a:cubicBezTo>
                      <a:pt x="250714" y="868363"/>
                      <a:pt x="241300" y="877704"/>
                      <a:pt x="241300" y="888482"/>
                    </a:cubicBezTo>
                    <a:cubicBezTo>
                      <a:pt x="241300" y="888482"/>
                      <a:pt x="241300" y="888482"/>
                      <a:pt x="241300" y="903572"/>
                    </a:cubicBezTo>
                    <a:cubicBezTo>
                      <a:pt x="241300" y="903572"/>
                      <a:pt x="241300" y="903572"/>
                      <a:pt x="241300" y="919380"/>
                    </a:cubicBezTo>
                    <a:cubicBezTo>
                      <a:pt x="241300" y="919380"/>
                      <a:pt x="241300" y="919380"/>
                      <a:pt x="241300" y="933032"/>
                    </a:cubicBezTo>
                    <a:cubicBezTo>
                      <a:pt x="241300" y="933751"/>
                      <a:pt x="242024" y="934469"/>
                      <a:pt x="242024" y="935188"/>
                    </a:cubicBezTo>
                    <a:cubicBezTo>
                      <a:pt x="242748" y="935907"/>
                      <a:pt x="244197" y="936625"/>
                      <a:pt x="244921" y="936625"/>
                    </a:cubicBezTo>
                    <a:cubicBezTo>
                      <a:pt x="244921" y="936625"/>
                      <a:pt x="244921" y="936625"/>
                      <a:pt x="278955" y="936625"/>
                    </a:cubicBezTo>
                    <a:cubicBezTo>
                      <a:pt x="279679" y="936625"/>
                      <a:pt x="280403" y="936625"/>
                      <a:pt x="281127" y="935907"/>
                    </a:cubicBezTo>
                    <a:cubicBezTo>
                      <a:pt x="281851" y="935907"/>
                      <a:pt x="281851" y="935188"/>
                      <a:pt x="281851" y="935188"/>
                    </a:cubicBezTo>
                    <a:cubicBezTo>
                      <a:pt x="282575" y="934469"/>
                      <a:pt x="282575" y="933751"/>
                      <a:pt x="282575" y="933032"/>
                    </a:cubicBezTo>
                    <a:lnTo>
                      <a:pt x="282575" y="919380"/>
                    </a:lnTo>
                    <a:cubicBezTo>
                      <a:pt x="282575" y="919380"/>
                      <a:pt x="282575" y="919380"/>
                      <a:pt x="282575" y="903572"/>
                    </a:cubicBezTo>
                    <a:cubicBezTo>
                      <a:pt x="282575" y="903572"/>
                      <a:pt x="282575" y="903572"/>
                      <a:pt x="282575" y="888482"/>
                    </a:cubicBezTo>
                    <a:cubicBezTo>
                      <a:pt x="282575" y="877704"/>
                      <a:pt x="273162" y="868363"/>
                      <a:pt x="261576" y="868363"/>
                    </a:cubicBezTo>
                    <a:close/>
                    <a:moveTo>
                      <a:pt x="740138" y="862013"/>
                    </a:moveTo>
                    <a:cubicBezTo>
                      <a:pt x="728552" y="862013"/>
                      <a:pt x="719138" y="870686"/>
                      <a:pt x="719138" y="882251"/>
                    </a:cubicBezTo>
                    <a:cubicBezTo>
                      <a:pt x="719138" y="882251"/>
                      <a:pt x="719138" y="882251"/>
                      <a:pt x="719138" y="903211"/>
                    </a:cubicBezTo>
                    <a:cubicBezTo>
                      <a:pt x="719138" y="903211"/>
                      <a:pt x="719138" y="903211"/>
                      <a:pt x="719138" y="919112"/>
                    </a:cubicBezTo>
                    <a:cubicBezTo>
                      <a:pt x="719138" y="919112"/>
                      <a:pt x="719138" y="919112"/>
                      <a:pt x="719138" y="935012"/>
                    </a:cubicBezTo>
                    <a:cubicBezTo>
                      <a:pt x="719138" y="935012"/>
                      <a:pt x="719138" y="935012"/>
                      <a:pt x="719138" y="947299"/>
                    </a:cubicBezTo>
                    <a:cubicBezTo>
                      <a:pt x="719138" y="949468"/>
                      <a:pt x="721311" y="950913"/>
                      <a:pt x="722759" y="950913"/>
                    </a:cubicBezTo>
                    <a:cubicBezTo>
                      <a:pt x="722759" y="950913"/>
                      <a:pt x="722759" y="950913"/>
                      <a:pt x="752448" y="950913"/>
                    </a:cubicBezTo>
                    <a:cubicBezTo>
                      <a:pt x="752448" y="950913"/>
                      <a:pt x="752448" y="950913"/>
                      <a:pt x="756793" y="950913"/>
                    </a:cubicBezTo>
                    <a:cubicBezTo>
                      <a:pt x="758965" y="950913"/>
                      <a:pt x="760413" y="949468"/>
                      <a:pt x="760413" y="947299"/>
                    </a:cubicBezTo>
                    <a:cubicBezTo>
                      <a:pt x="760413" y="947299"/>
                      <a:pt x="760413" y="947299"/>
                      <a:pt x="760413" y="935012"/>
                    </a:cubicBezTo>
                    <a:cubicBezTo>
                      <a:pt x="760413" y="935012"/>
                      <a:pt x="760413" y="935012"/>
                      <a:pt x="760413" y="919112"/>
                    </a:cubicBezTo>
                    <a:cubicBezTo>
                      <a:pt x="760413" y="919112"/>
                      <a:pt x="760413" y="919112"/>
                      <a:pt x="760413" y="903211"/>
                    </a:cubicBezTo>
                    <a:cubicBezTo>
                      <a:pt x="760413" y="903211"/>
                      <a:pt x="760413" y="903211"/>
                      <a:pt x="760413" y="882251"/>
                    </a:cubicBezTo>
                    <a:cubicBezTo>
                      <a:pt x="760413" y="877191"/>
                      <a:pt x="758241" y="871409"/>
                      <a:pt x="754620" y="867795"/>
                    </a:cubicBezTo>
                    <a:cubicBezTo>
                      <a:pt x="750276" y="864181"/>
                      <a:pt x="745207" y="862013"/>
                      <a:pt x="740138" y="862013"/>
                    </a:cubicBezTo>
                    <a:close/>
                    <a:moveTo>
                      <a:pt x="206738" y="862013"/>
                    </a:moveTo>
                    <a:cubicBezTo>
                      <a:pt x="200945" y="862013"/>
                      <a:pt x="195876" y="864181"/>
                      <a:pt x="192255" y="867795"/>
                    </a:cubicBezTo>
                    <a:cubicBezTo>
                      <a:pt x="187911" y="871409"/>
                      <a:pt x="185738" y="877191"/>
                      <a:pt x="185738" y="882251"/>
                    </a:cubicBezTo>
                    <a:cubicBezTo>
                      <a:pt x="185738" y="882251"/>
                      <a:pt x="185738" y="882251"/>
                      <a:pt x="185738" y="903211"/>
                    </a:cubicBezTo>
                    <a:cubicBezTo>
                      <a:pt x="185738" y="903211"/>
                      <a:pt x="185738" y="903211"/>
                      <a:pt x="185738" y="919112"/>
                    </a:cubicBezTo>
                    <a:cubicBezTo>
                      <a:pt x="185738" y="919112"/>
                      <a:pt x="185738" y="919112"/>
                      <a:pt x="186462" y="935012"/>
                    </a:cubicBezTo>
                    <a:cubicBezTo>
                      <a:pt x="186462" y="935012"/>
                      <a:pt x="186462" y="935012"/>
                      <a:pt x="186462" y="947299"/>
                    </a:cubicBezTo>
                    <a:cubicBezTo>
                      <a:pt x="186462" y="949468"/>
                      <a:pt x="187911" y="950913"/>
                      <a:pt x="190083" y="950913"/>
                    </a:cubicBezTo>
                    <a:cubicBezTo>
                      <a:pt x="190083" y="950913"/>
                      <a:pt x="190083" y="950913"/>
                      <a:pt x="193704" y="950913"/>
                    </a:cubicBezTo>
                    <a:cubicBezTo>
                      <a:pt x="193704" y="950913"/>
                      <a:pt x="193704" y="950913"/>
                      <a:pt x="223393" y="950913"/>
                    </a:cubicBezTo>
                    <a:cubicBezTo>
                      <a:pt x="225565" y="950913"/>
                      <a:pt x="227013" y="949468"/>
                      <a:pt x="227013" y="947299"/>
                    </a:cubicBezTo>
                    <a:cubicBezTo>
                      <a:pt x="227013" y="947299"/>
                      <a:pt x="227013" y="947299"/>
                      <a:pt x="227013" y="935012"/>
                    </a:cubicBezTo>
                    <a:cubicBezTo>
                      <a:pt x="227013" y="935012"/>
                      <a:pt x="227013" y="935012"/>
                      <a:pt x="227013" y="919112"/>
                    </a:cubicBezTo>
                    <a:cubicBezTo>
                      <a:pt x="227013" y="919112"/>
                      <a:pt x="227013" y="919112"/>
                      <a:pt x="227013" y="903211"/>
                    </a:cubicBezTo>
                    <a:cubicBezTo>
                      <a:pt x="227013" y="903211"/>
                      <a:pt x="227013" y="903211"/>
                      <a:pt x="227013" y="882251"/>
                    </a:cubicBezTo>
                    <a:cubicBezTo>
                      <a:pt x="227013" y="870686"/>
                      <a:pt x="217600" y="862013"/>
                      <a:pt x="206738" y="862013"/>
                    </a:cubicBezTo>
                    <a:close/>
                    <a:moveTo>
                      <a:pt x="794976" y="849313"/>
                    </a:moveTo>
                    <a:cubicBezTo>
                      <a:pt x="784114" y="849313"/>
                      <a:pt x="774700" y="857899"/>
                      <a:pt x="774700" y="869347"/>
                    </a:cubicBezTo>
                    <a:cubicBezTo>
                      <a:pt x="774700" y="869347"/>
                      <a:pt x="774700" y="869347"/>
                      <a:pt x="774700" y="903691"/>
                    </a:cubicBezTo>
                    <a:cubicBezTo>
                      <a:pt x="774700" y="903691"/>
                      <a:pt x="774700" y="903691"/>
                      <a:pt x="774700" y="919431"/>
                    </a:cubicBezTo>
                    <a:cubicBezTo>
                      <a:pt x="774700" y="919431"/>
                      <a:pt x="774700" y="919431"/>
                      <a:pt x="774700" y="935172"/>
                    </a:cubicBezTo>
                    <a:cubicBezTo>
                      <a:pt x="774700" y="935172"/>
                      <a:pt x="774700" y="935172"/>
                      <a:pt x="774700" y="947336"/>
                    </a:cubicBezTo>
                    <a:cubicBezTo>
                      <a:pt x="774700" y="948051"/>
                      <a:pt x="774700" y="949482"/>
                      <a:pt x="775424" y="950198"/>
                    </a:cubicBezTo>
                    <a:cubicBezTo>
                      <a:pt x="776148" y="950198"/>
                      <a:pt x="776873" y="950913"/>
                      <a:pt x="778321" y="950913"/>
                    </a:cubicBezTo>
                    <a:cubicBezTo>
                      <a:pt x="778321" y="950913"/>
                      <a:pt x="778321" y="950913"/>
                      <a:pt x="811631" y="950913"/>
                    </a:cubicBezTo>
                    <a:cubicBezTo>
                      <a:pt x="812355" y="950913"/>
                      <a:pt x="812355" y="950913"/>
                      <a:pt x="812355" y="950913"/>
                    </a:cubicBezTo>
                    <a:cubicBezTo>
                      <a:pt x="814527" y="950913"/>
                      <a:pt x="815975" y="949482"/>
                      <a:pt x="815975" y="947336"/>
                    </a:cubicBezTo>
                    <a:cubicBezTo>
                      <a:pt x="815975" y="947336"/>
                      <a:pt x="815975" y="947336"/>
                      <a:pt x="815975" y="935172"/>
                    </a:cubicBezTo>
                    <a:cubicBezTo>
                      <a:pt x="815975" y="935172"/>
                      <a:pt x="815975" y="935172"/>
                      <a:pt x="815975" y="919431"/>
                    </a:cubicBezTo>
                    <a:cubicBezTo>
                      <a:pt x="815975" y="919431"/>
                      <a:pt x="815975" y="919431"/>
                      <a:pt x="815975" y="903691"/>
                    </a:cubicBezTo>
                    <a:cubicBezTo>
                      <a:pt x="815975" y="903691"/>
                      <a:pt x="815975" y="903691"/>
                      <a:pt x="815975" y="869347"/>
                    </a:cubicBezTo>
                    <a:cubicBezTo>
                      <a:pt x="815975" y="857899"/>
                      <a:pt x="806562" y="849313"/>
                      <a:pt x="794976" y="849313"/>
                    </a:cubicBezTo>
                    <a:close/>
                    <a:moveTo>
                      <a:pt x="150451" y="849313"/>
                    </a:moveTo>
                    <a:cubicBezTo>
                      <a:pt x="138865" y="849313"/>
                      <a:pt x="130175" y="857899"/>
                      <a:pt x="130175" y="869347"/>
                    </a:cubicBezTo>
                    <a:cubicBezTo>
                      <a:pt x="130175" y="869347"/>
                      <a:pt x="130175" y="869347"/>
                      <a:pt x="130175" y="903691"/>
                    </a:cubicBezTo>
                    <a:cubicBezTo>
                      <a:pt x="130175" y="903691"/>
                      <a:pt x="130175" y="903691"/>
                      <a:pt x="130175" y="919431"/>
                    </a:cubicBezTo>
                    <a:cubicBezTo>
                      <a:pt x="130175" y="919431"/>
                      <a:pt x="130175" y="919431"/>
                      <a:pt x="130175" y="935172"/>
                    </a:cubicBezTo>
                    <a:cubicBezTo>
                      <a:pt x="130175" y="935172"/>
                      <a:pt x="130175" y="935172"/>
                      <a:pt x="130175" y="947336"/>
                    </a:cubicBezTo>
                    <a:cubicBezTo>
                      <a:pt x="130175" y="949482"/>
                      <a:pt x="131623" y="950913"/>
                      <a:pt x="133072" y="950913"/>
                    </a:cubicBezTo>
                    <a:cubicBezTo>
                      <a:pt x="133796" y="950913"/>
                      <a:pt x="133796" y="950913"/>
                      <a:pt x="133796" y="950913"/>
                    </a:cubicBezTo>
                    <a:cubicBezTo>
                      <a:pt x="133796" y="950913"/>
                      <a:pt x="133796" y="950913"/>
                      <a:pt x="167106" y="950913"/>
                    </a:cubicBezTo>
                    <a:cubicBezTo>
                      <a:pt x="167830" y="950913"/>
                      <a:pt x="167830" y="950913"/>
                      <a:pt x="167830" y="950913"/>
                    </a:cubicBezTo>
                    <a:cubicBezTo>
                      <a:pt x="168554" y="950913"/>
                      <a:pt x="169278" y="950198"/>
                      <a:pt x="170002" y="950198"/>
                    </a:cubicBezTo>
                    <a:cubicBezTo>
                      <a:pt x="170726" y="949482"/>
                      <a:pt x="171450" y="948051"/>
                      <a:pt x="171450" y="947336"/>
                    </a:cubicBezTo>
                    <a:cubicBezTo>
                      <a:pt x="171450" y="947336"/>
                      <a:pt x="171450" y="947336"/>
                      <a:pt x="171450" y="935172"/>
                    </a:cubicBezTo>
                    <a:cubicBezTo>
                      <a:pt x="171450" y="935172"/>
                      <a:pt x="171450" y="935172"/>
                      <a:pt x="171450" y="919431"/>
                    </a:cubicBezTo>
                    <a:cubicBezTo>
                      <a:pt x="171450" y="919431"/>
                      <a:pt x="171450" y="919431"/>
                      <a:pt x="171450" y="903691"/>
                    </a:cubicBezTo>
                    <a:cubicBezTo>
                      <a:pt x="171450" y="903691"/>
                      <a:pt x="171450" y="903691"/>
                      <a:pt x="171450" y="869347"/>
                    </a:cubicBezTo>
                    <a:cubicBezTo>
                      <a:pt x="170726" y="857899"/>
                      <a:pt x="162037" y="849313"/>
                      <a:pt x="150451" y="849313"/>
                    </a:cubicBezTo>
                    <a:close/>
                    <a:moveTo>
                      <a:pt x="795165" y="838200"/>
                    </a:moveTo>
                    <a:cubicBezTo>
                      <a:pt x="813092" y="838200"/>
                      <a:pt x="827434" y="852368"/>
                      <a:pt x="827434" y="869370"/>
                    </a:cubicBezTo>
                    <a:cubicBezTo>
                      <a:pt x="827434" y="869370"/>
                      <a:pt x="827434" y="869370"/>
                      <a:pt x="827434" y="877870"/>
                    </a:cubicBezTo>
                    <a:cubicBezTo>
                      <a:pt x="833171" y="871495"/>
                      <a:pt x="841776" y="867244"/>
                      <a:pt x="851098" y="867244"/>
                    </a:cubicBezTo>
                    <a:cubicBezTo>
                      <a:pt x="859703" y="867244"/>
                      <a:pt x="867591" y="870078"/>
                      <a:pt x="873328" y="876454"/>
                    </a:cubicBezTo>
                    <a:cubicBezTo>
                      <a:pt x="879782" y="882121"/>
                      <a:pt x="882650" y="889913"/>
                      <a:pt x="882650" y="898414"/>
                    </a:cubicBezTo>
                    <a:cubicBezTo>
                      <a:pt x="882650" y="898414"/>
                      <a:pt x="882650" y="898414"/>
                      <a:pt x="882650" y="903373"/>
                    </a:cubicBezTo>
                    <a:cubicBezTo>
                      <a:pt x="882650" y="903373"/>
                      <a:pt x="882650" y="903373"/>
                      <a:pt x="882650" y="918957"/>
                    </a:cubicBezTo>
                    <a:cubicBezTo>
                      <a:pt x="882650" y="918957"/>
                      <a:pt x="882650" y="918957"/>
                      <a:pt x="882650" y="934542"/>
                    </a:cubicBezTo>
                    <a:cubicBezTo>
                      <a:pt x="882650" y="934542"/>
                      <a:pt x="882650" y="934542"/>
                      <a:pt x="882650" y="950127"/>
                    </a:cubicBezTo>
                    <a:cubicBezTo>
                      <a:pt x="882650" y="950127"/>
                      <a:pt x="882650" y="950127"/>
                      <a:pt x="882650" y="955086"/>
                    </a:cubicBezTo>
                    <a:cubicBezTo>
                      <a:pt x="882650" y="959336"/>
                      <a:pt x="881216" y="962878"/>
                      <a:pt x="878348" y="965712"/>
                    </a:cubicBezTo>
                    <a:cubicBezTo>
                      <a:pt x="875479" y="968545"/>
                      <a:pt x="871894" y="969962"/>
                      <a:pt x="867591" y="969962"/>
                    </a:cubicBezTo>
                    <a:cubicBezTo>
                      <a:pt x="867591" y="969962"/>
                      <a:pt x="867591" y="969962"/>
                      <a:pt x="834605" y="969962"/>
                    </a:cubicBezTo>
                    <a:cubicBezTo>
                      <a:pt x="830302" y="969962"/>
                      <a:pt x="826717" y="968545"/>
                      <a:pt x="823849" y="965712"/>
                    </a:cubicBezTo>
                    <a:cubicBezTo>
                      <a:pt x="822414" y="964295"/>
                      <a:pt x="820980" y="961461"/>
                      <a:pt x="819546" y="959336"/>
                    </a:cubicBezTo>
                    <a:cubicBezTo>
                      <a:pt x="817395" y="960753"/>
                      <a:pt x="814526" y="961461"/>
                      <a:pt x="811658" y="961461"/>
                    </a:cubicBezTo>
                    <a:cubicBezTo>
                      <a:pt x="811658" y="961461"/>
                      <a:pt x="811658" y="961461"/>
                      <a:pt x="778672" y="961461"/>
                    </a:cubicBezTo>
                    <a:cubicBezTo>
                      <a:pt x="774369" y="961461"/>
                      <a:pt x="770784" y="960045"/>
                      <a:pt x="767915" y="957211"/>
                    </a:cubicBezTo>
                    <a:cubicBezTo>
                      <a:pt x="767915" y="957211"/>
                      <a:pt x="767915" y="956503"/>
                      <a:pt x="767198" y="956503"/>
                    </a:cubicBezTo>
                    <a:cubicBezTo>
                      <a:pt x="764330" y="959336"/>
                      <a:pt x="760744" y="961461"/>
                      <a:pt x="756442" y="961461"/>
                    </a:cubicBezTo>
                    <a:cubicBezTo>
                      <a:pt x="756442" y="961461"/>
                      <a:pt x="756442" y="961461"/>
                      <a:pt x="722738" y="961461"/>
                    </a:cubicBezTo>
                    <a:cubicBezTo>
                      <a:pt x="716285" y="961461"/>
                      <a:pt x="709831" y="956503"/>
                      <a:pt x="708397" y="950127"/>
                    </a:cubicBezTo>
                    <a:cubicBezTo>
                      <a:pt x="707679" y="948710"/>
                      <a:pt x="707679" y="947293"/>
                      <a:pt x="707679" y="946585"/>
                    </a:cubicBezTo>
                    <a:cubicBezTo>
                      <a:pt x="707679" y="946585"/>
                      <a:pt x="707679" y="946585"/>
                      <a:pt x="707679" y="945877"/>
                    </a:cubicBezTo>
                    <a:cubicBezTo>
                      <a:pt x="705528" y="946585"/>
                      <a:pt x="703377" y="947293"/>
                      <a:pt x="700509" y="947293"/>
                    </a:cubicBezTo>
                    <a:cubicBezTo>
                      <a:pt x="700509" y="947293"/>
                      <a:pt x="700509" y="947293"/>
                      <a:pt x="667522" y="947293"/>
                    </a:cubicBezTo>
                    <a:cubicBezTo>
                      <a:pt x="663220" y="947293"/>
                      <a:pt x="659634" y="945877"/>
                      <a:pt x="656766" y="943043"/>
                    </a:cubicBezTo>
                    <a:cubicBezTo>
                      <a:pt x="653897" y="940918"/>
                      <a:pt x="652463" y="938084"/>
                      <a:pt x="652463" y="934542"/>
                    </a:cubicBezTo>
                    <a:cubicBezTo>
                      <a:pt x="652463" y="933834"/>
                      <a:pt x="652463" y="933125"/>
                      <a:pt x="652463" y="932417"/>
                    </a:cubicBezTo>
                    <a:cubicBezTo>
                      <a:pt x="652463" y="932417"/>
                      <a:pt x="652463" y="932417"/>
                      <a:pt x="652463" y="918957"/>
                    </a:cubicBezTo>
                    <a:cubicBezTo>
                      <a:pt x="652463" y="918957"/>
                      <a:pt x="652463" y="918957"/>
                      <a:pt x="652463" y="903373"/>
                    </a:cubicBezTo>
                    <a:cubicBezTo>
                      <a:pt x="652463" y="903373"/>
                      <a:pt x="652463" y="903373"/>
                      <a:pt x="652463" y="888496"/>
                    </a:cubicBezTo>
                    <a:cubicBezTo>
                      <a:pt x="652463" y="871495"/>
                      <a:pt x="666805" y="857327"/>
                      <a:pt x="684015" y="857327"/>
                    </a:cubicBezTo>
                    <a:cubicBezTo>
                      <a:pt x="694772" y="857327"/>
                      <a:pt x="704811" y="862994"/>
                      <a:pt x="710548" y="870786"/>
                    </a:cubicBezTo>
                    <a:cubicBezTo>
                      <a:pt x="714850" y="859452"/>
                      <a:pt x="726324" y="851660"/>
                      <a:pt x="739949" y="851660"/>
                    </a:cubicBezTo>
                    <a:cubicBezTo>
                      <a:pt x="748554" y="851660"/>
                      <a:pt x="756442" y="854493"/>
                      <a:pt x="762179" y="860869"/>
                    </a:cubicBezTo>
                    <a:cubicBezTo>
                      <a:pt x="762896" y="861577"/>
                      <a:pt x="763613" y="862286"/>
                      <a:pt x="764330" y="862994"/>
                    </a:cubicBezTo>
                    <a:cubicBezTo>
                      <a:pt x="767198" y="848826"/>
                      <a:pt x="780106" y="838200"/>
                      <a:pt x="795165" y="838200"/>
                    </a:cubicBezTo>
                    <a:close/>
                    <a:moveTo>
                      <a:pt x="150714" y="838200"/>
                    </a:moveTo>
                    <a:cubicBezTo>
                      <a:pt x="165726" y="838200"/>
                      <a:pt x="178594" y="848826"/>
                      <a:pt x="182168" y="862994"/>
                    </a:cubicBezTo>
                    <a:cubicBezTo>
                      <a:pt x="182168" y="862286"/>
                      <a:pt x="182883" y="861577"/>
                      <a:pt x="183598" y="860869"/>
                    </a:cubicBezTo>
                    <a:cubicBezTo>
                      <a:pt x="190032" y="854493"/>
                      <a:pt x="197895" y="851660"/>
                      <a:pt x="206474" y="851660"/>
                    </a:cubicBezTo>
                    <a:cubicBezTo>
                      <a:pt x="219341" y="851660"/>
                      <a:pt x="230779" y="859452"/>
                      <a:pt x="235783" y="870786"/>
                    </a:cubicBezTo>
                    <a:cubicBezTo>
                      <a:pt x="241502" y="862994"/>
                      <a:pt x="250795" y="857327"/>
                      <a:pt x="261518" y="857327"/>
                    </a:cubicBezTo>
                    <a:cubicBezTo>
                      <a:pt x="279390" y="857327"/>
                      <a:pt x="293687" y="871495"/>
                      <a:pt x="293687" y="888496"/>
                    </a:cubicBezTo>
                    <a:cubicBezTo>
                      <a:pt x="293687" y="888496"/>
                      <a:pt x="293687" y="888496"/>
                      <a:pt x="293687" y="903373"/>
                    </a:cubicBezTo>
                    <a:lnTo>
                      <a:pt x="293687" y="918957"/>
                    </a:lnTo>
                    <a:cubicBezTo>
                      <a:pt x="293687" y="918957"/>
                      <a:pt x="293687" y="918957"/>
                      <a:pt x="293687" y="932417"/>
                    </a:cubicBezTo>
                    <a:cubicBezTo>
                      <a:pt x="293687" y="933125"/>
                      <a:pt x="293687" y="933834"/>
                      <a:pt x="293687" y="934542"/>
                    </a:cubicBezTo>
                    <a:cubicBezTo>
                      <a:pt x="292972" y="938084"/>
                      <a:pt x="291543" y="940918"/>
                      <a:pt x="289398" y="943043"/>
                    </a:cubicBezTo>
                    <a:cubicBezTo>
                      <a:pt x="286539" y="945877"/>
                      <a:pt x="282249" y="947293"/>
                      <a:pt x="278675" y="947293"/>
                    </a:cubicBezTo>
                    <a:cubicBezTo>
                      <a:pt x="278675" y="947293"/>
                      <a:pt x="278675" y="947293"/>
                      <a:pt x="245076" y="947293"/>
                    </a:cubicBezTo>
                    <a:cubicBezTo>
                      <a:pt x="242932" y="947293"/>
                      <a:pt x="240072" y="946585"/>
                      <a:pt x="237928" y="945877"/>
                    </a:cubicBezTo>
                    <a:cubicBezTo>
                      <a:pt x="237928" y="945877"/>
                      <a:pt x="237928" y="945877"/>
                      <a:pt x="237928" y="946585"/>
                    </a:cubicBezTo>
                    <a:cubicBezTo>
                      <a:pt x="237928" y="947293"/>
                      <a:pt x="237928" y="948710"/>
                      <a:pt x="237928" y="950127"/>
                    </a:cubicBezTo>
                    <a:cubicBezTo>
                      <a:pt x="235783" y="956503"/>
                      <a:pt x="230064" y="961461"/>
                      <a:pt x="222915" y="961461"/>
                    </a:cubicBezTo>
                    <a:cubicBezTo>
                      <a:pt x="222915" y="961461"/>
                      <a:pt x="222915" y="961461"/>
                      <a:pt x="190032" y="961461"/>
                    </a:cubicBezTo>
                    <a:cubicBezTo>
                      <a:pt x="185742" y="961461"/>
                      <a:pt x="181453" y="959336"/>
                      <a:pt x="178594" y="956503"/>
                    </a:cubicBezTo>
                    <a:cubicBezTo>
                      <a:pt x="178594" y="956503"/>
                      <a:pt x="178594" y="957211"/>
                      <a:pt x="178594" y="957211"/>
                    </a:cubicBezTo>
                    <a:cubicBezTo>
                      <a:pt x="175019" y="960045"/>
                      <a:pt x="171445" y="961461"/>
                      <a:pt x="167156" y="961461"/>
                    </a:cubicBezTo>
                    <a:cubicBezTo>
                      <a:pt x="167156" y="961461"/>
                      <a:pt x="167156" y="961461"/>
                      <a:pt x="134272" y="961461"/>
                    </a:cubicBezTo>
                    <a:cubicBezTo>
                      <a:pt x="131413" y="961461"/>
                      <a:pt x="128553" y="960753"/>
                      <a:pt x="126408" y="959336"/>
                    </a:cubicBezTo>
                    <a:cubicBezTo>
                      <a:pt x="125694" y="961461"/>
                      <a:pt x="124264" y="963587"/>
                      <a:pt x="122834" y="965712"/>
                    </a:cubicBezTo>
                    <a:cubicBezTo>
                      <a:pt x="122834" y="965712"/>
                      <a:pt x="122834" y="965712"/>
                      <a:pt x="122119" y="965712"/>
                    </a:cubicBezTo>
                    <a:cubicBezTo>
                      <a:pt x="119975" y="968545"/>
                      <a:pt x="115685" y="969962"/>
                      <a:pt x="112111" y="969962"/>
                    </a:cubicBezTo>
                    <a:cubicBezTo>
                      <a:pt x="112111" y="969962"/>
                      <a:pt x="112111" y="969962"/>
                      <a:pt x="79227" y="969962"/>
                    </a:cubicBezTo>
                    <a:cubicBezTo>
                      <a:pt x="74938" y="969962"/>
                      <a:pt x="71364" y="968545"/>
                      <a:pt x="68504" y="965712"/>
                    </a:cubicBezTo>
                    <a:cubicBezTo>
                      <a:pt x="65645" y="962878"/>
                      <a:pt x="63500" y="959336"/>
                      <a:pt x="63500" y="955086"/>
                    </a:cubicBezTo>
                    <a:cubicBezTo>
                      <a:pt x="63500" y="955086"/>
                      <a:pt x="63500" y="955086"/>
                      <a:pt x="63500" y="950127"/>
                    </a:cubicBezTo>
                    <a:cubicBezTo>
                      <a:pt x="63500" y="950127"/>
                      <a:pt x="63500" y="950127"/>
                      <a:pt x="63500" y="934542"/>
                    </a:cubicBezTo>
                    <a:cubicBezTo>
                      <a:pt x="63500" y="934542"/>
                      <a:pt x="63500" y="934542"/>
                      <a:pt x="63500" y="918957"/>
                    </a:cubicBezTo>
                    <a:cubicBezTo>
                      <a:pt x="63500" y="918957"/>
                      <a:pt x="63500" y="918957"/>
                      <a:pt x="63500" y="903373"/>
                    </a:cubicBezTo>
                    <a:cubicBezTo>
                      <a:pt x="63500" y="903373"/>
                      <a:pt x="63500" y="903373"/>
                      <a:pt x="63500" y="898414"/>
                    </a:cubicBezTo>
                    <a:cubicBezTo>
                      <a:pt x="63500" y="889913"/>
                      <a:pt x="67075" y="882121"/>
                      <a:pt x="72794" y="876454"/>
                    </a:cubicBezTo>
                    <a:cubicBezTo>
                      <a:pt x="78512" y="870078"/>
                      <a:pt x="87091" y="867244"/>
                      <a:pt x="94954" y="867244"/>
                    </a:cubicBezTo>
                    <a:cubicBezTo>
                      <a:pt x="94954" y="867244"/>
                      <a:pt x="94954" y="867244"/>
                      <a:pt x="95669" y="867244"/>
                    </a:cubicBezTo>
                    <a:cubicBezTo>
                      <a:pt x="104963" y="867244"/>
                      <a:pt x="113541" y="871495"/>
                      <a:pt x="119260" y="877870"/>
                    </a:cubicBezTo>
                    <a:cubicBezTo>
                      <a:pt x="119260" y="877870"/>
                      <a:pt x="119260" y="877870"/>
                      <a:pt x="119260" y="869370"/>
                    </a:cubicBezTo>
                    <a:cubicBezTo>
                      <a:pt x="119260" y="852368"/>
                      <a:pt x="133557" y="838200"/>
                      <a:pt x="150714" y="838200"/>
                    </a:cubicBezTo>
                    <a:close/>
                    <a:moveTo>
                      <a:pt x="741892" y="796925"/>
                    </a:moveTo>
                    <a:cubicBezTo>
                      <a:pt x="741892" y="796925"/>
                      <a:pt x="741892" y="796925"/>
                      <a:pt x="872596" y="796925"/>
                    </a:cubicBezTo>
                    <a:cubicBezTo>
                      <a:pt x="878341" y="796925"/>
                      <a:pt x="882650" y="801007"/>
                      <a:pt x="882650" y="806450"/>
                    </a:cubicBezTo>
                    <a:cubicBezTo>
                      <a:pt x="882650" y="811893"/>
                      <a:pt x="878341" y="815975"/>
                      <a:pt x="872596" y="815975"/>
                    </a:cubicBezTo>
                    <a:cubicBezTo>
                      <a:pt x="872596" y="815975"/>
                      <a:pt x="872596" y="815975"/>
                      <a:pt x="741892" y="815975"/>
                    </a:cubicBezTo>
                    <a:cubicBezTo>
                      <a:pt x="736147" y="815975"/>
                      <a:pt x="731838" y="811893"/>
                      <a:pt x="731838" y="806450"/>
                    </a:cubicBezTo>
                    <a:cubicBezTo>
                      <a:pt x="731838" y="801007"/>
                      <a:pt x="736147" y="796925"/>
                      <a:pt x="741892" y="796925"/>
                    </a:cubicBezTo>
                    <a:close/>
                    <a:moveTo>
                      <a:pt x="851350" y="684213"/>
                    </a:moveTo>
                    <a:cubicBezTo>
                      <a:pt x="852054" y="684213"/>
                      <a:pt x="852758" y="684213"/>
                      <a:pt x="852758" y="684213"/>
                    </a:cubicBezTo>
                    <a:cubicBezTo>
                      <a:pt x="852758" y="684213"/>
                      <a:pt x="852758" y="684213"/>
                      <a:pt x="853461" y="684930"/>
                    </a:cubicBezTo>
                    <a:cubicBezTo>
                      <a:pt x="853461" y="684930"/>
                      <a:pt x="853461" y="684930"/>
                      <a:pt x="853461" y="684213"/>
                    </a:cubicBezTo>
                    <a:cubicBezTo>
                      <a:pt x="853461" y="684213"/>
                      <a:pt x="854165" y="684213"/>
                      <a:pt x="854869" y="684213"/>
                    </a:cubicBezTo>
                    <a:cubicBezTo>
                      <a:pt x="855573" y="684213"/>
                      <a:pt x="856277" y="684213"/>
                      <a:pt x="856277" y="684213"/>
                    </a:cubicBezTo>
                    <a:cubicBezTo>
                      <a:pt x="856277" y="684213"/>
                      <a:pt x="856277" y="684213"/>
                      <a:pt x="856981" y="684213"/>
                    </a:cubicBezTo>
                    <a:cubicBezTo>
                      <a:pt x="856981" y="684213"/>
                      <a:pt x="857685" y="684213"/>
                      <a:pt x="858389" y="684213"/>
                    </a:cubicBezTo>
                    <a:cubicBezTo>
                      <a:pt x="858389" y="684213"/>
                      <a:pt x="858389" y="684213"/>
                      <a:pt x="858389" y="684930"/>
                    </a:cubicBezTo>
                    <a:cubicBezTo>
                      <a:pt x="859093" y="684930"/>
                      <a:pt x="859796" y="684930"/>
                      <a:pt x="859796" y="685647"/>
                    </a:cubicBezTo>
                    <a:cubicBezTo>
                      <a:pt x="859796" y="685647"/>
                      <a:pt x="859796" y="685647"/>
                      <a:pt x="860500" y="685647"/>
                    </a:cubicBezTo>
                    <a:cubicBezTo>
                      <a:pt x="860500" y="685647"/>
                      <a:pt x="861204" y="686365"/>
                      <a:pt x="861908" y="687082"/>
                    </a:cubicBezTo>
                    <a:lnTo>
                      <a:pt x="889360" y="715057"/>
                    </a:lnTo>
                    <a:cubicBezTo>
                      <a:pt x="890767" y="716492"/>
                      <a:pt x="892175" y="719361"/>
                      <a:pt x="892175" y="721513"/>
                    </a:cubicBezTo>
                    <a:cubicBezTo>
                      <a:pt x="892175" y="724382"/>
                      <a:pt x="890767" y="727252"/>
                      <a:pt x="889360" y="728686"/>
                    </a:cubicBezTo>
                    <a:cubicBezTo>
                      <a:pt x="887248" y="730838"/>
                      <a:pt x="885136" y="731555"/>
                      <a:pt x="882321" y="731555"/>
                    </a:cubicBezTo>
                    <a:cubicBezTo>
                      <a:pt x="880209" y="731555"/>
                      <a:pt x="877394" y="730838"/>
                      <a:pt x="875986" y="728686"/>
                    </a:cubicBezTo>
                    <a:cubicBezTo>
                      <a:pt x="875986" y="728686"/>
                      <a:pt x="875986" y="728686"/>
                      <a:pt x="864724" y="717209"/>
                    </a:cubicBezTo>
                    <a:cubicBezTo>
                      <a:pt x="864724" y="717209"/>
                      <a:pt x="864724" y="717209"/>
                      <a:pt x="864724" y="771725"/>
                    </a:cubicBezTo>
                    <a:cubicBezTo>
                      <a:pt x="864724" y="776746"/>
                      <a:pt x="859796" y="781050"/>
                      <a:pt x="854869" y="781050"/>
                    </a:cubicBezTo>
                    <a:cubicBezTo>
                      <a:pt x="849238" y="781050"/>
                      <a:pt x="845015" y="776746"/>
                      <a:pt x="845015" y="771725"/>
                    </a:cubicBezTo>
                    <a:cubicBezTo>
                      <a:pt x="845015" y="771725"/>
                      <a:pt x="845015" y="771725"/>
                      <a:pt x="845015" y="717209"/>
                    </a:cubicBezTo>
                    <a:cubicBezTo>
                      <a:pt x="845015" y="717209"/>
                      <a:pt x="845015" y="717209"/>
                      <a:pt x="833753" y="728686"/>
                    </a:cubicBezTo>
                    <a:cubicBezTo>
                      <a:pt x="832345" y="730838"/>
                      <a:pt x="829529" y="731555"/>
                      <a:pt x="827418" y="731555"/>
                    </a:cubicBezTo>
                    <a:cubicBezTo>
                      <a:pt x="824602" y="731555"/>
                      <a:pt x="822490" y="730838"/>
                      <a:pt x="820379" y="728686"/>
                    </a:cubicBezTo>
                    <a:cubicBezTo>
                      <a:pt x="818267" y="727252"/>
                      <a:pt x="817563" y="724382"/>
                      <a:pt x="817563" y="721513"/>
                    </a:cubicBezTo>
                    <a:cubicBezTo>
                      <a:pt x="817563" y="719361"/>
                      <a:pt x="818267" y="716492"/>
                      <a:pt x="820379" y="715057"/>
                    </a:cubicBezTo>
                    <a:cubicBezTo>
                      <a:pt x="820379" y="715057"/>
                      <a:pt x="820379" y="715057"/>
                      <a:pt x="847830" y="687082"/>
                    </a:cubicBezTo>
                    <a:cubicBezTo>
                      <a:pt x="848534" y="686365"/>
                      <a:pt x="849238" y="685647"/>
                      <a:pt x="849238" y="685647"/>
                    </a:cubicBezTo>
                    <a:cubicBezTo>
                      <a:pt x="849238" y="685647"/>
                      <a:pt x="849238" y="685647"/>
                      <a:pt x="849942" y="685647"/>
                    </a:cubicBezTo>
                    <a:cubicBezTo>
                      <a:pt x="849942" y="684930"/>
                      <a:pt x="850646" y="684930"/>
                      <a:pt x="851350" y="684930"/>
                    </a:cubicBezTo>
                    <a:cubicBezTo>
                      <a:pt x="851350" y="684930"/>
                      <a:pt x="851350" y="684930"/>
                      <a:pt x="851350" y="684213"/>
                    </a:cubicBezTo>
                    <a:close/>
                    <a:moveTo>
                      <a:pt x="755231" y="684213"/>
                    </a:moveTo>
                    <a:cubicBezTo>
                      <a:pt x="755950" y="684213"/>
                      <a:pt x="756669" y="684213"/>
                      <a:pt x="756669" y="684213"/>
                    </a:cubicBezTo>
                    <a:lnTo>
                      <a:pt x="757388" y="684930"/>
                    </a:lnTo>
                    <a:cubicBezTo>
                      <a:pt x="757388" y="684930"/>
                      <a:pt x="757388" y="684930"/>
                      <a:pt x="757388" y="684213"/>
                    </a:cubicBezTo>
                    <a:cubicBezTo>
                      <a:pt x="757388" y="684213"/>
                      <a:pt x="758106" y="684213"/>
                      <a:pt x="758825" y="684213"/>
                    </a:cubicBezTo>
                    <a:cubicBezTo>
                      <a:pt x="759544" y="684213"/>
                      <a:pt x="760263" y="684213"/>
                      <a:pt x="760263" y="684213"/>
                    </a:cubicBezTo>
                    <a:cubicBezTo>
                      <a:pt x="760263" y="684213"/>
                      <a:pt x="760263" y="684213"/>
                      <a:pt x="760982" y="684213"/>
                    </a:cubicBezTo>
                    <a:cubicBezTo>
                      <a:pt x="760982" y="684213"/>
                      <a:pt x="761701" y="684213"/>
                      <a:pt x="762420" y="684213"/>
                    </a:cubicBezTo>
                    <a:cubicBezTo>
                      <a:pt x="762420" y="684213"/>
                      <a:pt x="762420" y="684213"/>
                      <a:pt x="762420" y="684930"/>
                    </a:cubicBezTo>
                    <a:cubicBezTo>
                      <a:pt x="763138" y="684930"/>
                      <a:pt x="763857" y="684930"/>
                      <a:pt x="763857" y="685647"/>
                    </a:cubicBezTo>
                    <a:cubicBezTo>
                      <a:pt x="763857" y="685647"/>
                      <a:pt x="763857" y="685647"/>
                      <a:pt x="764576" y="685647"/>
                    </a:cubicBezTo>
                    <a:cubicBezTo>
                      <a:pt x="764576" y="685647"/>
                      <a:pt x="765295" y="686365"/>
                      <a:pt x="766014" y="687082"/>
                    </a:cubicBezTo>
                    <a:cubicBezTo>
                      <a:pt x="766014" y="687082"/>
                      <a:pt x="766014" y="687082"/>
                      <a:pt x="794050" y="715057"/>
                    </a:cubicBezTo>
                    <a:cubicBezTo>
                      <a:pt x="795488" y="716492"/>
                      <a:pt x="796925" y="719361"/>
                      <a:pt x="796925" y="721513"/>
                    </a:cubicBezTo>
                    <a:cubicBezTo>
                      <a:pt x="796925" y="724382"/>
                      <a:pt x="795488" y="727252"/>
                      <a:pt x="794050" y="728686"/>
                    </a:cubicBezTo>
                    <a:cubicBezTo>
                      <a:pt x="791893" y="730838"/>
                      <a:pt x="789737" y="731555"/>
                      <a:pt x="786861" y="731555"/>
                    </a:cubicBezTo>
                    <a:cubicBezTo>
                      <a:pt x="784704" y="731555"/>
                      <a:pt x="781829" y="730838"/>
                      <a:pt x="780391" y="728686"/>
                    </a:cubicBezTo>
                    <a:cubicBezTo>
                      <a:pt x="780391" y="728686"/>
                      <a:pt x="780391" y="728686"/>
                      <a:pt x="768889" y="717209"/>
                    </a:cubicBezTo>
                    <a:cubicBezTo>
                      <a:pt x="768889" y="717209"/>
                      <a:pt x="768889" y="717209"/>
                      <a:pt x="768889" y="771725"/>
                    </a:cubicBezTo>
                    <a:cubicBezTo>
                      <a:pt x="768889" y="776746"/>
                      <a:pt x="763857" y="781050"/>
                      <a:pt x="758825" y="781050"/>
                    </a:cubicBezTo>
                    <a:cubicBezTo>
                      <a:pt x="753074" y="781050"/>
                      <a:pt x="748761" y="776746"/>
                      <a:pt x="748761" y="771725"/>
                    </a:cubicBezTo>
                    <a:cubicBezTo>
                      <a:pt x="748761" y="771725"/>
                      <a:pt x="748761" y="771725"/>
                      <a:pt x="748761" y="717209"/>
                    </a:cubicBezTo>
                    <a:cubicBezTo>
                      <a:pt x="748761" y="717209"/>
                      <a:pt x="748761" y="717209"/>
                      <a:pt x="737259" y="728686"/>
                    </a:cubicBezTo>
                    <a:cubicBezTo>
                      <a:pt x="735821" y="730838"/>
                      <a:pt x="732946" y="731555"/>
                      <a:pt x="730789" y="731555"/>
                    </a:cubicBezTo>
                    <a:cubicBezTo>
                      <a:pt x="727914" y="731555"/>
                      <a:pt x="725757" y="730838"/>
                      <a:pt x="723601" y="728686"/>
                    </a:cubicBezTo>
                    <a:cubicBezTo>
                      <a:pt x="721444" y="727252"/>
                      <a:pt x="720725" y="724382"/>
                      <a:pt x="720725" y="721513"/>
                    </a:cubicBezTo>
                    <a:cubicBezTo>
                      <a:pt x="720725" y="719361"/>
                      <a:pt x="721444" y="716492"/>
                      <a:pt x="723601" y="715057"/>
                    </a:cubicBezTo>
                    <a:cubicBezTo>
                      <a:pt x="723601" y="715057"/>
                      <a:pt x="723601" y="715057"/>
                      <a:pt x="751637" y="687082"/>
                    </a:cubicBezTo>
                    <a:cubicBezTo>
                      <a:pt x="752355" y="686365"/>
                      <a:pt x="753074" y="685647"/>
                      <a:pt x="753074" y="685647"/>
                    </a:cubicBezTo>
                    <a:cubicBezTo>
                      <a:pt x="753074" y="685647"/>
                      <a:pt x="753074" y="685647"/>
                      <a:pt x="753793" y="685647"/>
                    </a:cubicBezTo>
                    <a:cubicBezTo>
                      <a:pt x="753793" y="684930"/>
                      <a:pt x="754512" y="684930"/>
                      <a:pt x="755231" y="684930"/>
                    </a:cubicBezTo>
                    <a:cubicBezTo>
                      <a:pt x="755231" y="684930"/>
                      <a:pt x="755231" y="684930"/>
                      <a:pt x="755231" y="684213"/>
                    </a:cubicBezTo>
                    <a:close/>
                    <a:moveTo>
                      <a:pt x="73508" y="579438"/>
                    </a:moveTo>
                    <a:cubicBezTo>
                      <a:pt x="73508" y="579438"/>
                      <a:pt x="73508" y="579438"/>
                      <a:pt x="161441" y="579438"/>
                    </a:cubicBezTo>
                    <a:cubicBezTo>
                      <a:pt x="167160" y="579438"/>
                      <a:pt x="171450" y="584200"/>
                      <a:pt x="171450" y="588963"/>
                    </a:cubicBezTo>
                    <a:cubicBezTo>
                      <a:pt x="171450" y="594406"/>
                      <a:pt x="167160" y="598488"/>
                      <a:pt x="161441" y="598488"/>
                    </a:cubicBezTo>
                    <a:cubicBezTo>
                      <a:pt x="161441" y="598488"/>
                      <a:pt x="161441" y="598488"/>
                      <a:pt x="73508" y="598488"/>
                    </a:cubicBezTo>
                    <a:cubicBezTo>
                      <a:pt x="68504" y="598488"/>
                      <a:pt x="63500" y="594406"/>
                      <a:pt x="63500" y="588963"/>
                    </a:cubicBezTo>
                    <a:cubicBezTo>
                      <a:pt x="63500" y="584200"/>
                      <a:pt x="68504" y="579438"/>
                      <a:pt x="73508" y="579438"/>
                    </a:cubicBezTo>
                    <a:close/>
                    <a:moveTo>
                      <a:pt x="73433" y="542925"/>
                    </a:moveTo>
                    <a:lnTo>
                      <a:pt x="180567" y="542925"/>
                    </a:lnTo>
                    <a:cubicBezTo>
                      <a:pt x="186243" y="542925"/>
                      <a:pt x="190500" y="547687"/>
                      <a:pt x="190500" y="552450"/>
                    </a:cubicBezTo>
                    <a:cubicBezTo>
                      <a:pt x="190500" y="557893"/>
                      <a:pt x="186243" y="561975"/>
                      <a:pt x="180567" y="561975"/>
                    </a:cubicBezTo>
                    <a:cubicBezTo>
                      <a:pt x="180567" y="561975"/>
                      <a:pt x="180567" y="561975"/>
                      <a:pt x="73433" y="561975"/>
                    </a:cubicBezTo>
                    <a:cubicBezTo>
                      <a:pt x="68466" y="561975"/>
                      <a:pt x="63500" y="557893"/>
                      <a:pt x="63500" y="552450"/>
                    </a:cubicBezTo>
                    <a:cubicBezTo>
                      <a:pt x="63500" y="547687"/>
                      <a:pt x="68466" y="542925"/>
                      <a:pt x="73433" y="542925"/>
                    </a:cubicBezTo>
                    <a:close/>
                    <a:moveTo>
                      <a:pt x="73474" y="506413"/>
                    </a:moveTo>
                    <a:cubicBezTo>
                      <a:pt x="73474" y="506413"/>
                      <a:pt x="73474" y="506413"/>
                      <a:pt x="199576" y="506413"/>
                    </a:cubicBezTo>
                    <a:cubicBezTo>
                      <a:pt x="205275" y="506413"/>
                      <a:pt x="209550" y="511175"/>
                      <a:pt x="209550" y="515938"/>
                    </a:cubicBezTo>
                    <a:cubicBezTo>
                      <a:pt x="209550" y="521381"/>
                      <a:pt x="205275" y="525463"/>
                      <a:pt x="199576" y="525463"/>
                    </a:cubicBezTo>
                    <a:cubicBezTo>
                      <a:pt x="199576" y="525463"/>
                      <a:pt x="199576" y="525463"/>
                      <a:pt x="73474" y="525463"/>
                    </a:cubicBezTo>
                    <a:cubicBezTo>
                      <a:pt x="68487" y="525463"/>
                      <a:pt x="63500" y="521381"/>
                      <a:pt x="63500" y="515938"/>
                    </a:cubicBezTo>
                    <a:cubicBezTo>
                      <a:pt x="63500" y="511175"/>
                      <a:pt x="68487" y="506413"/>
                      <a:pt x="73474" y="506413"/>
                    </a:cubicBezTo>
                    <a:close/>
                    <a:moveTo>
                      <a:pt x="592138" y="434975"/>
                    </a:moveTo>
                    <a:cubicBezTo>
                      <a:pt x="592138" y="434975"/>
                      <a:pt x="592138" y="434975"/>
                      <a:pt x="898900" y="434975"/>
                    </a:cubicBezTo>
                    <a:cubicBezTo>
                      <a:pt x="898900" y="434975"/>
                      <a:pt x="898900" y="434975"/>
                      <a:pt x="907501" y="434975"/>
                    </a:cubicBezTo>
                    <a:cubicBezTo>
                      <a:pt x="907501" y="434975"/>
                      <a:pt x="907501" y="434975"/>
                      <a:pt x="915385" y="434975"/>
                    </a:cubicBezTo>
                    <a:cubicBezTo>
                      <a:pt x="915385" y="434975"/>
                      <a:pt x="915385" y="434975"/>
                      <a:pt x="921119" y="434975"/>
                    </a:cubicBezTo>
                    <a:cubicBezTo>
                      <a:pt x="921119" y="434975"/>
                      <a:pt x="921119" y="434975"/>
                      <a:pt x="938320" y="434975"/>
                    </a:cubicBezTo>
                    <a:cubicBezTo>
                      <a:pt x="946921" y="434975"/>
                      <a:pt x="954088" y="442129"/>
                      <a:pt x="954088" y="450714"/>
                    </a:cubicBezTo>
                    <a:cubicBezTo>
                      <a:pt x="954088" y="450714"/>
                      <a:pt x="954088" y="450714"/>
                      <a:pt x="954088" y="919298"/>
                    </a:cubicBezTo>
                    <a:cubicBezTo>
                      <a:pt x="954088" y="927883"/>
                      <a:pt x="946921" y="935037"/>
                      <a:pt x="938320" y="935037"/>
                    </a:cubicBezTo>
                    <a:cubicBezTo>
                      <a:pt x="938320" y="935037"/>
                      <a:pt x="938320" y="935037"/>
                      <a:pt x="898900" y="935037"/>
                    </a:cubicBezTo>
                    <a:cubicBezTo>
                      <a:pt x="898900" y="935037"/>
                      <a:pt x="898900" y="935037"/>
                      <a:pt x="898900" y="919298"/>
                    </a:cubicBezTo>
                    <a:cubicBezTo>
                      <a:pt x="898900" y="919298"/>
                      <a:pt x="898900" y="919298"/>
                      <a:pt x="898900" y="903560"/>
                    </a:cubicBezTo>
                    <a:cubicBezTo>
                      <a:pt x="898900" y="903560"/>
                      <a:pt x="898900" y="903560"/>
                      <a:pt x="922552" y="903560"/>
                    </a:cubicBezTo>
                    <a:cubicBezTo>
                      <a:pt x="922552" y="903560"/>
                      <a:pt x="922552" y="903560"/>
                      <a:pt x="922552" y="466452"/>
                    </a:cubicBezTo>
                    <a:cubicBezTo>
                      <a:pt x="922552" y="466452"/>
                      <a:pt x="922552" y="466452"/>
                      <a:pt x="916101" y="466452"/>
                    </a:cubicBezTo>
                    <a:cubicBezTo>
                      <a:pt x="916101" y="466452"/>
                      <a:pt x="916101" y="466452"/>
                      <a:pt x="911084" y="466452"/>
                    </a:cubicBezTo>
                    <a:cubicBezTo>
                      <a:pt x="911084" y="466452"/>
                      <a:pt x="911084" y="466452"/>
                      <a:pt x="898183" y="466452"/>
                    </a:cubicBezTo>
                    <a:cubicBezTo>
                      <a:pt x="898183" y="466452"/>
                      <a:pt x="898183" y="466452"/>
                      <a:pt x="592138" y="466452"/>
                    </a:cubicBezTo>
                    <a:cubicBezTo>
                      <a:pt x="592138" y="466452"/>
                      <a:pt x="592138" y="466452"/>
                      <a:pt x="592138" y="460014"/>
                    </a:cubicBezTo>
                    <a:cubicBezTo>
                      <a:pt x="592138" y="460014"/>
                      <a:pt x="592138" y="460014"/>
                      <a:pt x="592138" y="450714"/>
                    </a:cubicBezTo>
                    <a:cubicBezTo>
                      <a:pt x="592138" y="450714"/>
                      <a:pt x="592138" y="450714"/>
                      <a:pt x="592138" y="434975"/>
                    </a:cubicBezTo>
                    <a:close/>
                    <a:moveTo>
                      <a:pt x="15699" y="434975"/>
                    </a:moveTo>
                    <a:cubicBezTo>
                      <a:pt x="15699" y="434975"/>
                      <a:pt x="15699" y="434975"/>
                      <a:pt x="32825" y="434975"/>
                    </a:cubicBezTo>
                    <a:cubicBezTo>
                      <a:pt x="32825" y="434975"/>
                      <a:pt x="32825" y="434975"/>
                      <a:pt x="38534" y="434975"/>
                    </a:cubicBezTo>
                    <a:cubicBezTo>
                      <a:pt x="38534" y="434975"/>
                      <a:pt x="38534" y="434975"/>
                      <a:pt x="47097" y="434975"/>
                    </a:cubicBezTo>
                    <a:cubicBezTo>
                      <a:pt x="47097" y="434975"/>
                      <a:pt x="47097" y="434975"/>
                      <a:pt x="54946" y="434975"/>
                    </a:cubicBezTo>
                    <a:cubicBezTo>
                      <a:pt x="54946" y="434975"/>
                      <a:pt x="54946" y="434975"/>
                      <a:pt x="360362" y="434975"/>
                    </a:cubicBezTo>
                    <a:cubicBezTo>
                      <a:pt x="360362" y="434975"/>
                      <a:pt x="360362" y="434975"/>
                      <a:pt x="360362" y="450714"/>
                    </a:cubicBezTo>
                    <a:cubicBezTo>
                      <a:pt x="360362" y="450714"/>
                      <a:pt x="360362" y="450714"/>
                      <a:pt x="360362" y="460014"/>
                    </a:cubicBezTo>
                    <a:cubicBezTo>
                      <a:pt x="360362" y="460014"/>
                      <a:pt x="360362" y="460014"/>
                      <a:pt x="360362" y="466452"/>
                    </a:cubicBezTo>
                    <a:cubicBezTo>
                      <a:pt x="360362" y="466452"/>
                      <a:pt x="360362" y="466452"/>
                      <a:pt x="55660" y="466452"/>
                    </a:cubicBezTo>
                    <a:cubicBezTo>
                      <a:pt x="55660" y="466452"/>
                      <a:pt x="55660" y="466452"/>
                      <a:pt x="42815" y="466452"/>
                    </a:cubicBezTo>
                    <a:cubicBezTo>
                      <a:pt x="42815" y="466452"/>
                      <a:pt x="42815" y="466452"/>
                      <a:pt x="37820" y="466452"/>
                    </a:cubicBezTo>
                    <a:lnTo>
                      <a:pt x="31398" y="466452"/>
                    </a:lnTo>
                    <a:cubicBezTo>
                      <a:pt x="31398" y="466452"/>
                      <a:pt x="31398" y="466452"/>
                      <a:pt x="31398" y="903560"/>
                    </a:cubicBezTo>
                    <a:cubicBezTo>
                      <a:pt x="31398" y="903560"/>
                      <a:pt x="31398" y="903560"/>
                      <a:pt x="48524" y="903560"/>
                    </a:cubicBezTo>
                    <a:cubicBezTo>
                      <a:pt x="48524" y="903560"/>
                      <a:pt x="48524" y="903560"/>
                      <a:pt x="48524" y="919298"/>
                    </a:cubicBezTo>
                    <a:cubicBezTo>
                      <a:pt x="48524" y="919298"/>
                      <a:pt x="48524" y="919298"/>
                      <a:pt x="48524" y="935037"/>
                    </a:cubicBezTo>
                    <a:cubicBezTo>
                      <a:pt x="48524" y="935037"/>
                      <a:pt x="48524" y="935037"/>
                      <a:pt x="15699" y="935037"/>
                    </a:cubicBezTo>
                    <a:cubicBezTo>
                      <a:pt x="7136" y="935037"/>
                      <a:pt x="0" y="927883"/>
                      <a:pt x="0" y="919298"/>
                    </a:cubicBezTo>
                    <a:cubicBezTo>
                      <a:pt x="0" y="919298"/>
                      <a:pt x="0" y="919298"/>
                      <a:pt x="0" y="450714"/>
                    </a:cubicBezTo>
                    <a:cubicBezTo>
                      <a:pt x="0" y="442129"/>
                      <a:pt x="7136" y="434975"/>
                      <a:pt x="15699" y="434975"/>
                    </a:cubicBezTo>
                    <a:close/>
                    <a:moveTo>
                      <a:pt x="249953" y="0"/>
                    </a:moveTo>
                    <a:cubicBezTo>
                      <a:pt x="257815" y="6422"/>
                      <a:pt x="264962" y="7849"/>
                      <a:pt x="270680" y="7849"/>
                    </a:cubicBezTo>
                    <a:cubicBezTo>
                      <a:pt x="271395" y="7849"/>
                      <a:pt x="272825" y="7849"/>
                      <a:pt x="273539" y="7849"/>
                    </a:cubicBezTo>
                    <a:cubicBezTo>
                      <a:pt x="276398" y="17838"/>
                      <a:pt x="282831" y="31395"/>
                      <a:pt x="297126" y="38530"/>
                    </a:cubicBezTo>
                    <a:cubicBezTo>
                      <a:pt x="299270" y="39958"/>
                      <a:pt x="301415" y="42098"/>
                      <a:pt x="302129" y="44239"/>
                    </a:cubicBezTo>
                    <a:cubicBezTo>
                      <a:pt x="321428" y="92759"/>
                      <a:pt x="356450" y="174815"/>
                      <a:pt x="370031" y="186945"/>
                    </a:cubicBezTo>
                    <a:cubicBezTo>
                      <a:pt x="390758" y="204783"/>
                      <a:pt x="446509" y="239746"/>
                      <a:pt x="476528" y="239746"/>
                    </a:cubicBezTo>
                    <a:cubicBezTo>
                      <a:pt x="505833" y="239746"/>
                      <a:pt x="562298" y="204783"/>
                      <a:pt x="582311" y="186945"/>
                    </a:cubicBezTo>
                    <a:cubicBezTo>
                      <a:pt x="595892" y="174815"/>
                      <a:pt x="630914" y="92759"/>
                      <a:pt x="650213" y="44239"/>
                    </a:cubicBezTo>
                    <a:cubicBezTo>
                      <a:pt x="650927" y="42098"/>
                      <a:pt x="653072" y="39958"/>
                      <a:pt x="655931" y="38530"/>
                    </a:cubicBezTo>
                    <a:cubicBezTo>
                      <a:pt x="662364" y="34963"/>
                      <a:pt x="667367" y="29968"/>
                      <a:pt x="671656" y="24260"/>
                    </a:cubicBezTo>
                    <a:cubicBezTo>
                      <a:pt x="678803" y="22833"/>
                      <a:pt x="685951" y="19979"/>
                      <a:pt x="690954" y="17838"/>
                    </a:cubicBezTo>
                    <a:cubicBezTo>
                      <a:pt x="690954" y="17838"/>
                      <a:pt x="690954" y="17838"/>
                      <a:pt x="691669" y="17838"/>
                    </a:cubicBezTo>
                    <a:cubicBezTo>
                      <a:pt x="691669" y="17838"/>
                      <a:pt x="691669" y="17838"/>
                      <a:pt x="692383" y="17125"/>
                    </a:cubicBezTo>
                    <a:cubicBezTo>
                      <a:pt x="695242" y="15698"/>
                      <a:pt x="698816" y="14270"/>
                      <a:pt x="701675" y="12130"/>
                    </a:cubicBezTo>
                    <a:cubicBezTo>
                      <a:pt x="698101" y="24973"/>
                      <a:pt x="690239" y="44952"/>
                      <a:pt x="670226" y="56369"/>
                    </a:cubicBezTo>
                    <a:cubicBezTo>
                      <a:pt x="659505" y="83483"/>
                      <a:pt x="623767" y="171960"/>
                      <a:pt x="602324" y="198361"/>
                    </a:cubicBezTo>
                    <a:cubicBezTo>
                      <a:pt x="602324" y="198361"/>
                      <a:pt x="602324" y="198361"/>
                      <a:pt x="602324" y="243313"/>
                    </a:cubicBezTo>
                    <a:cubicBezTo>
                      <a:pt x="602324" y="243313"/>
                      <a:pt x="602324" y="243313"/>
                      <a:pt x="598036" y="249022"/>
                    </a:cubicBezTo>
                    <a:cubicBezTo>
                      <a:pt x="597321" y="250449"/>
                      <a:pt x="590888" y="258297"/>
                      <a:pt x="579452" y="268287"/>
                    </a:cubicBezTo>
                    <a:cubicBezTo>
                      <a:pt x="579452" y="268287"/>
                      <a:pt x="579452" y="268287"/>
                      <a:pt x="579452" y="217626"/>
                    </a:cubicBezTo>
                    <a:cubicBezTo>
                      <a:pt x="550862" y="238319"/>
                      <a:pt x="506548" y="262579"/>
                      <a:pt x="476528" y="262579"/>
                    </a:cubicBezTo>
                    <a:cubicBezTo>
                      <a:pt x="445794" y="262579"/>
                      <a:pt x="401480" y="238319"/>
                      <a:pt x="373604" y="218340"/>
                    </a:cubicBezTo>
                    <a:cubicBezTo>
                      <a:pt x="373604" y="218340"/>
                      <a:pt x="373604" y="218340"/>
                      <a:pt x="373604" y="268287"/>
                    </a:cubicBezTo>
                    <a:cubicBezTo>
                      <a:pt x="361454" y="258297"/>
                      <a:pt x="355736" y="250449"/>
                      <a:pt x="355021" y="249022"/>
                    </a:cubicBezTo>
                    <a:cubicBezTo>
                      <a:pt x="355021" y="249022"/>
                      <a:pt x="355021" y="249022"/>
                      <a:pt x="350732" y="243313"/>
                    </a:cubicBezTo>
                    <a:cubicBezTo>
                      <a:pt x="350732" y="243313"/>
                      <a:pt x="350732" y="243313"/>
                      <a:pt x="350732" y="199075"/>
                    </a:cubicBezTo>
                    <a:cubicBezTo>
                      <a:pt x="329290" y="171960"/>
                      <a:pt x="292838" y="83483"/>
                      <a:pt x="282831" y="56369"/>
                    </a:cubicBezTo>
                    <a:cubicBezTo>
                      <a:pt x="259244" y="42812"/>
                      <a:pt x="252097" y="18552"/>
                      <a:pt x="249953" y="5708"/>
                    </a:cubicBezTo>
                    <a:cubicBezTo>
                      <a:pt x="249238" y="3568"/>
                      <a:pt x="249238" y="2140"/>
                      <a:pt x="24995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5" name="TextBox 4">
            <a:extLst>
              <a:ext uri="{FF2B5EF4-FFF2-40B4-BE49-F238E27FC236}">
                <a16:creationId xmlns:a16="http://schemas.microsoft.com/office/drawing/2014/main" id="{34A6E280-3032-2445-82C6-0FB48B8B170E}"/>
              </a:ext>
            </a:extLst>
          </p:cNvPr>
          <p:cNvSpPr txBox="1"/>
          <p:nvPr/>
        </p:nvSpPr>
        <p:spPr>
          <a:xfrm>
            <a:off x="5763802" y="409938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FR" dirty="0" err="1">
              <a:solidFill>
                <a:srgbClr val="575757"/>
              </a:solidFill>
            </a:endParaRPr>
          </a:p>
        </p:txBody>
      </p:sp>
      <p:grpSp>
        <p:nvGrpSpPr>
          <p:cNvPr id="55" name="bcgIcons_Strategy">
            <a:extLst>
              <a:ext uri="{FF2B5EF4-FFF2-40B4-BE49-F238E27FC236}">
                <a16:creationId xmlns:a16="http://schemas.microsoft.com/office/drawing/2014/main" id="{7C002B8D-FF55-2742-A023-F455276BB812}"/>
              </a:ext>
            </a:extLst>
          </p:cNvPr>
          <p:cNvGrpSpPr>
            <a:grpSpLocks noChangeAspect="1"/>
          </p:cNvGrpSpPr>
          <p:nvPr/>
        </p:nvGrpSpPr>
        <p:grpSpPr bwMode="auto">
          <a:xfrm>
            <a:off x="6438325" y="1824963"/>
            <a:ext cx="767122" cy="767834"/>
            <a:chOff x="1682" y="0"/>
            <a:chExt cx="4316" cy="4320"/>
          </a:xfrm>
        </p:grpSpPr>
        <p:sp>
          <p:nvSpPr>
            <p:cNvPr id="56" name="AutoShape 3">
              <a:extLst>
                <a:ext uri="{FF2B5EF4-FFF2-40B4-BE49-F238E27FC236}">
                  <a16:creationId xmlns:a16="http://schemas.microsoft.com/office/drawing/2014/main" id="{7E342DFE-E730-DD4B-A4C8-C3C7D469370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5">
              <a:extLst>
                <a:ext uri="{FF2B5EF4-FFF2-40B4-BE49-F238E27FC236}">
                  <a16:creationId xmlns:a16="http://schemas.microsoft.com/office/drawing/2014/main" id="{BC154FDD-F7D2-BE4B-BE7E-19ABE3E56B9D}"/>
                </a:ext>
              </a:extLst>
            </p:cNvPr>
            <p:cNvSpPr>
              <a:spLocks noEditPoints="1"/>
            </p:cNvSpPr>
            <p:nvPr/>
          </p:nvSpPr>
          <p:spPr bwMode="auto">
            <a:xfrm>
              <a:off x="2120" y="932"/>
              <a:ext cx="3436" cy="245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6">
              <a:extLst>
                <a:ext uri="{FF2B5EF4-FFF2-40B4-BE49-F238E27FC236}">
                  <a16:creationId xmlns:a16="http://schemas.microsoft.com/office/drawing/2014/main" id="{31A34170-D2F5-BC48-A3AE-9797B8596949}"/>
                </a:ext>
              </a:extLst>
            </p:cNvPr>
            <p:cNvSpPr>
              <a:spLocks noEditPoints="1"/>
            </p:cNvSpPr>
            <p:nvPr/>
          </p:nvSpPr>
          <p:spPr bwMode="auto">
            <a:xfrm>
              <a:off x="2321" y="1131"/>
              <a:ext cx="3034" cy="20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60">
            <a:extLst>
              <a:ext uri="{FF2B5EF4-FFF2-40B4-BE49-F238E27FC236}">
                <a16:creationId xmlns:a16="http://schemas.microsoft.com/office/drawing/2014/main" id="{A11574FC-EC69-8740-90CB-AE386B09D78E}"/>
              </a:ext>
            </a:extLst>
          </p:cNvPr>
          <p:cNvGrpSpPr/>
          <p:nvPr/>
        </p:nvGrpSpPr>
        <p:grpSpPr>
          <a:xfrm rot="5400000">
            <a:off x="2974735" y="973486"/>
            <a:ext cx="306171" cy="4486989"/>
            <a:chOff x="5942914" y="1877259"/>
            <a:chExt cx="306171" cy="4486989"/>
          </a:xfrm>
        </p:grpSpPr>
        <p:cxnSp>
          <p:nvCxnSpPr>
            <p:cNvPr id="62" name="Straight Connector 61">
              <a:extLst>
                <a:ext uri="{FF2B5EF4-FFF2-40B4-BE49-F238E27FC236}">
                  <a16:creationId xmlns:a16="http://schemas.microsoft.com/office/drawing/2014/main" id="{76E3C7ED-E4CC-7046-86B2-C46CA0C70988}"/>
                </a:ext>
              </a:extLst>
            </p:cNvPr>
            <p:cNvCxnSpPr/>
            <p:nvPr/>
          </p:nvCxnSpPr>
          <p:spPr>
            <a:xfrm>
              <a:off x="6096001" y="1877259"/>
              <a:ext cx="0" cy="44869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E17021F5-A95C-0848-860B-8B0DECAE0708}"/>
                </a:ext>
              </a:extLst>
            </p:cNvPr>
            <p:cNvGrpSpPr/>
            <p:nvPr/>
          </p:nvGrpSpPr>
          <p:grpSpPr>
            <a:xfrm>
              <a:off x="5942914" y="3967299"/>
              <a:ext cx="306171" cy="306910"/>
              <a:chOff x="5937564" y="3833745"/>
              <a:chExt cx="306171" cy="306910"/>
            </a:xfrm>
          </p:grpSpPr>
          <p:sp>
            <p:nvSpPr>
              <p:cNvPr id="64" name="Freeform 94">
                <a:extLst>
                  <a:ext uri="{FF2B5EF4-FFF2-40B4-BE49-F238E27FC236}">
                    <a16:creationId xmlns:a16="http://schemas.microsoft.com/office/drawing/2014/main" id="{932B0748-6A49-054E-8C57-5A30D4C9510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65" name="Freeform 95">
                <a:extLst>
                  <a:ext uri="{FF2B5EF4-FFF2-40B4-BE49-F238E27FC236}">
                    <a16:creationId xmlns:a16="http://schemas.microsoft.com/office/drawing/2014/main" id="{21CE7C9F-2CAC-0B4D-8DD2-2652B7B1816B}"/>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66" name="Group 65">
            <a:extLst>
              <a:ext uri="{FF2B5EF4-FFF2-40B4-BE49-F238E27FC236}">
                <a16:creationId xmlns:a16="http://schemas.microsoft.com/office/drawing/2014/main" id="{378C2608-892E-4249-A713-58EA4FF74BC7}"/>
              </a:ext>
            </a:extLst>
          </p:cNvPr>
          <p:cNvGrpSpPr/>
          <p:nvPr/>
        </p:nvGrpSpPr>
        <p:grpSpPr>
          <a:xfrm rot="5400000">
            <a:off x="8912296" y="973486"/>
            <a:ext cx="306171" cy="4486989"/>
            <a:chOff x="5942914" y="1877259"/>
            <a:chExt cx="306171" cy="4486989"/>
          </a:xfrm>
        </p:grpSpPr>
        <p:cxnSp>
          <p:nvCxnSpPr>
            <p:cNvPr id="67" name="Straight Connector 66">
              <a:extLst>
                <a:ext uri="{FF2B5EF4-FFF2-40B4-BE49-F238E27FC236}">
                  <a16:creationId xmlns:a16="http://schemas.microsoft.com/office/drawing/2014/main" id="{BF807C23-7123-6D4B-935C-CB4B5923EE1D}"/>
                </a:ext>
              </a:extLst>
            </p:cNvPr>
            <p:cNvCxnSpPr/>
            <p:nvPr/>
          </p:nvCxnSpPr>
          <p:spPr>
            <a:xfrm>
              <a:off x="6096001" y="1877259"/>
              <a:ext cx="0" cy="44869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F6C10BE3-065B-8F43-BA05-B27AF8A8313A}"/>
                </a:ext>
              </a:extLst>
            </p:cNvPr>
            <p:cNvGrpSpPr/>
            <p:nvPr/>
          </p:nvGrpSpPr>
          <p:grpSpPr>
            <a:xfrm>
              <a:off x="5942914" y="3967299"/>
              <a:ext cx="306171" cy="306910"/>
              <a:chOff x="5937564" y="3833745"/>
              <a:chExt cx="306171" cy="306910"/>
            </a:xfrm>
          </p:grpSpPr>
          <p:sp>
            <p:nvSpPr>
              <p:cNvPr id="69" name="Freeform 94">
                <a:extLst>
                  <a:ext uri="{FF2B5EF4-FFF2-40B4-BE49-F238E27FC236}">
                    <a16:creationId xmlns:a16="http://schemas.microsoft.com/office/drawing/2014/main" id="{743422D4-7FFC-1C44-A2F3-53B3E7F2CCC4}"/>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70" name="Freeform 95">
                <a:extLst>
                  <a:ext uri="{FF2B5EF4-FFF2-40B4-BE49-F238E27FC236}">
                    <a16:creationId xmlns:a16="http://schemas.microsoft.com/office/drawing/2014/main" id="{545976A9-4810-5946-9ACB-88C9349EB279}"/>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extLst>
      <p:ext uri="{BB962C8B-B14F-4D97-AF65-F5344CB8AC3E}">
        <p14:creationId xmlns:p14="http://schemas.microsoft.com/office/powerpoint/2010/main" val="3795795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65413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80"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3" name="Title 2"/>
          <p:cNvSpPr>
            <a:spLocks noGrp="1"/>
          </p:cNvSpPr>
          <p:nvPr>
            <p:ph type="title"/>
          </p:nvPr>
        </p:nvSpPr>
        <p:spPr>
          <a:xfrm>
            <a:off x="630000" y="622800"/>
            <a:ext cx="10933200" cy="470898"/>
          </a:xfrm>
        </p:spPr>
        <p:txBody>
          <a:bodyPr vert="horz"/>
          <a:lstStyle/>
          <a:p>
            <a:r>
              <a:rPr lang="fr-FR" u="sng" dirty="0">
                <a:solidFill>
                  <a:srgbClr val="03522D"/>
                </a:solidFill>
              </a:rPr>
              <a:t>Livrable 1 :</a:t>
            </a:r>
            <a:r>
              <a:rPr lang="fr-FR" dirty="0">
                <a:solidFill>
                  <a:srgbClr val="03522D"/>
                </a:solidFill>
              </a:rPr>
              <a:t> </a:t>
            </a:r>
            <a:r>
              <a:rPr lang="fr-FR" dirty="0"/>
              <a:t>Prédiction du trafic routier à Paris</a:t>
            </a:r>
          </a:p>
        </p:txBody>
      </p:sp>
      <p:sp>
        <p:nvSpPr>
          <p:cNvPr id="11" name="ee4pContent1"/>
          <p:cNvSpPr txBox="1"/>
          <p:nvPr/>
        </p:nvSpPr>
        <p:spPr>
          <a:xfrm>
            <a:off x="629400" y="3553054"/>
            <a:ext cx="4995640" cy="312603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fr-FR" sz="1600" dirty="0">
                <a:solidFill>
                  <a:schemeClr val="tx1">
                    <a:lumMod val="100000"/>
                  </a:schemeClr>
                </a:solidFill>
              </a:rPr>
              <a:t>Notre client souhaite optimiser son processus de livraison et a défini une première variable d’importance à prédire: le trafic routier à Paris</a:t>
            </a:r>
          </a:p>
          <a:p>
            <a:pPr lvl="1">
              <a:buClr>
                <a:schemeClr val="tx2">
                  <a:lumMod val="100000"/>
                </a:schemeClr>
              </a:buClr>
              <a:buSzPct val="100000"/>
            </a:pPr>
            <a:endParaRPr lang="fr-FR" sz="1600" dirty="0">
              <a:solidFill>
                <a:schemeClr val="tx1">
                  <a:lumMod val="100000"/>
                </a:schemeClr>
              </a:solidFill>
              <a:latin typeface="Trebuchet MS" panose="020B0703020202090204" pitchFamily="34" charset="0"/>
            </a:endParaRPr>
          </a:p>
          <a:p>
            <a:pPr lvl="1">
              <a:buClr>
                <a:schemeClr val="tx2">
                  <a:lumMod val="100000"/>
                </a:schemeClr>
              </a:buClr>
              <a:buSzPct val="100000"/>
            </a:pPr>
            <a:r>
              <a:rPr lang="fr-FR" sz="1600" dirty="0">
                <a:solidFill>
                  <a:schemeClr val="tx1">
                    <a:lumMod val="100000"/>
                  </a:schemeClr>
                </a:solidFill>
                <a:latin typeface="Trebuchet MS" panose="020B0703020202090204" pitchFamily="34" charset="0"/>
              </a:rPr>
              <a:t>On s’intéresse à deux variables permettant de qualifier le réseau routier: le débit horaire et le taux d’occupation de la voie</a:t>
            </a:r>
            <a:endParaRPr lang="fr-FR" sz="14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endParaRPr lang="fr-FR" sz="1600" dirty="0">
              <a:solidFill>
                <a:schemeClr val="tx1">
                  <a:lumMod val="100000"/>
                </a:schemeClr>
              </a:solidFill>
            </a:endParaRPr>
          </a:p>
        </p:txBody>
      </p:sp>
      <p:sp>
        <p:nvSpPr>
          <p:cNvPr id="12" name="ee4pContent2"/>
          <p:cNvSpPr txBox="1"/>
          <p:nvPr/>
        </p:nvSpPr>
        <p:spPr>
          <a:xfrm>
            <a:off x="6567560" y="3553054"/>
            <a:ext cx="4857303" cy="232279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17500" lvl="1" indent="-225425">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3 arcs dans le périmètre du </a:t>
            </a:r>
            <a:r>
              <a:rPr lang="fr-FR" sz="1600" dirty="0" err="1">
                <a:solidFill>
                  <a:schemeClr val="tx1">
                    <a:lumMod val="100000"/>
                  </a:schemeClr>
                </a:solidFill>
                <a:latin typeface="Trebuchet MS" panose="020B0703020202090204" pitchFamily="34" charset="0"/>
              </a:rPr>
              <a:t>PoC</a:t>
            </a:r>
            <a:r>
              <a:rPr lang="fr-FR" sz="1600" dirty="0">
                <a:solidFill>
                  <a:schemeClr val="tx1">
                    <a:lumMod val="100000"/>
                  </a:schemeClr>
                </a:solidFill>
                <a:latin typeface="Trebuchet MS" panose="020B0703020202090204" pitchFamily="34" charset="0"/>
              </a:rPr>
              <a:t>:</a:t>
            </a:r>
          </a:p>
          <a:p>
            <a:pPr marL="641500" lvl="2" indent="-225425">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Les champs Elysées</a:t>
            </a:r>
          </a:p>
          <a:p>
            <a:pPr marL="641500" lvl="2" indent="-225425">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La rue de la Convention</a:t>
            </a:r>
          </a:p>
          <a:p>
            <a:pPr marL="641500" lvl="2" indent="-225425">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La rue des Saints Pères</a:t>
            </a:r>
          </a:p>
          <a:p>
            <a:pPr marL="641500" lvl="2" indent="-225425">
              <a:buClr>
                <a:schemeClr val="tx2">
                  <a:lumMod val="100000"/>
                </a:schemeClr>
              </a:buClr>
              <a:buSzPct val="100000"/>
              <a:buFont typeface="Trebuchet MS" panose="020B0703020202090204" pitchFamily="34" charset="0"/>
              <a:buChar char="•"/>
            </a:pPr>
            <a:endParaRPr lang="fr-FR" sz="1600" dirty="0">
              <a:solidFill>
                <a:schemeClr val="tx1">
                  <a:lumMod val="100000"/>
                </a:schemeClr>
              </a:solidFill>
              <a:latin typeface="Trebuchet MS" panose="020B0703020202090204" pitchFamily="34" charset="0"/>
            </a:endParaRPr>
          </a:p>
          <a:p>
            <a:pPr marL="276225" lvl="1" indent="-225425">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Vous réaliserez ces prédictions avec les dernières données disponibles en date et prédirez le trafic </a:t>
            </a:r>
            <a:r>
              <a:rPr lang="fr-FR" sz="1600" dirty="0">
                <a:solidFill>
                  <a:srgbClr val="575757"/>
                </a:solidFill>
                <a:latin typeface="Trebuchet MS" panose="020B0703020202090204" pitchFamily="34" charset="0"/>
              </a:rPr>
              <a:t>du 11 au 16 décembre 2020</a:t>
            </a:r>
          </a:p>
          <a:p>
            <a:pPr marL="276225" lvl="1" indent="-225425">
              <a:buClr>
                <a:schemeClr val="tx2">
                  <a:lumMod val="100000"/>
                </a:schemeClr>
              </a:buClr>
              <a:buSzPct val="100000"/>
              <a:buFont typeface="Trebuchet MS" panose="020B0703020202090204" pitchFamily="34" charset="0"/>
              <a:buChar char="•"/>
            </a:pPr>
            <a:endParaRPr lang="fr-FR" sz="1600" dirty="0">
              <a:solidFill>
                <a:srgbClr val="575757"/>
              </a:solidFill>
              <a:latin typeface="Trebuchet MS" panose="020B0703020202090204" pitchFamily="34" charset="0"/>
            </a:endParaRPr>
          </a:p>
          <a:p>
            <a:pPr marL="276225" lvl="1" indent="-225425">
              <a:buClr>
                <a:schemeClr val="tx2">
                  <a:lumMod val="100000"/>
                </a:schemeClr>
              </a:buClr>
              <a:buSzPct val="100000"/>
              <a:buFont typeface="Trebuchet MS" panose="020B0703020202090204" pitchFamily="34" charset="0"/>
              <a:buChar char="•"/>
            </a:pPr>
            <a:r>
              <a:rPr lang="fr-FR" sz="1600" dirty="0">
                <a:solidFill>
                  <a:srgbClr val="575757"/>
                </a:solidFill>
                <a:latin typeface="Trebuchet MS" panose="020B0703020202090204" pitchFamily="34" charset="0"/>
              </a:rPr>
              <a:t>Performance évaluée à l’aide de la RMSE</a:t>
            </a:r>
            <a:r>
              <a:rPr lang="fr-FR" sz="1600" baseline="30000" dirty="0">
                <a:solidFill>
                  <a:srgbClr val="575757"/>
                </a:solidFill>
                <a:latin typeface="Trebuchet MS" panose="020B0703020202090204" pitchFamily="34" charset="0"/>
              </a:rPr>
              <a:t>1</a:t>
            </a:r>
          </a:p>
          <a:p>
            <a:pPr marL="108000" lvl="1" indent="0">
              <a:buClr>
                <a:schemeClr val="tx2">
                  <a:lumMod val="100000"/>
                </a:schemeClr>
              </a:buClr>
              <a:buSzPct val="100000"/>
              <a:buNone/>
            </a:pPr>
            <a:endParaRPr lang="fr-FR" sz="1600" dirty="0">
              <a:solidFill>
                <a:schemeClr val="tx1">
                  <a:lumMod val="100000"/>
                </a:schemeClr>
              </a:solidFill>
              <a:latin typeface="Trebuchet MS" panose="020B0703020202090204" pitchFamily="34" charset="0"/>
            </a:endParaRPr>
          </a:p>
        </p:txBody>
      </p:sp>
      <p:sp>
        <p:nvSpPr>
          <p:cNvPr id="20" name="ee4pHeader1"/>
          <p:cNvSpPr txBox="1"/>
          <p:nvPr/>
        </p:nvSpPr>
        <p:spPr>
          <a:xfrm>
            <a:off x="630000" y="2307948"/>
            <a:ext cx="4995640" cy="658368"/>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Objectif</a:t>
            </a:r>
          </a:p>
        </p:txBody>
      </p:sp>
      <p:sp>
        <p:nvSpPr>
          <p:cNvPr id="21" name="ee4pHeader2"/>
          <p:cNvSpPr txBox="1"/>
          <p:nvPr/>
        </p:nvSpPr>
        <p:spPr>
          <a:xfrm>
            <a:off x="6567560" y="2307948"/>
            <a:ext cx="4995640" cy="658368"/>
          </a:xfrm>
          <a:prstGeom prst="rect">
            <a:avLst/>
          </a:prstGeom>
          <a:noFill/>
          <a:ln cap="rnd">
            <a:noFill/>
          </a:ln>
        </p:spPr>
        <p:txBody>
          <a:bodyPr wrap="square" lIns="0" tIns="0" rIns="0" bIns="0" rtlCol="0" anchor="b" anchorCtr="0">
            <a:noAutofit/>
          </a:bodyPr>
          <a:lstStyle/>
          <a:p>
            <a:pPr marL="0" lvl="3"/>
            <a:r>
              <a:rPr lang="fr-FR" sz="2400" dirty="0">
                <a:solidFill>
                  <a:schemeClr val="tx2"/>
                </a:solidFill>
              </a:rPr>
              <a:t>Périmètre</a:t>
            </a:r>
          </a:p>
        </p:txBody>
      </p:sp>
      <p:grpSp>
        <p:nvGrpSpPr>
          <p:cNvPr id="37" name="Group 36"/>
          <p:cNvGrpSpPr/>
          <p:nvPr/>
        </p:nvGrpSpPr>
        <p:grpSpPr>
          <a:xfrm rot="5400000">
            <a:off x="2974735" y="973486"/>
            <a:ext cx="306171" cy="4486989"/>
            <a:chOff x="5942914" y="1877259"/>
            <a:chExt cx="306171" cy="4486989"/>
          </a:xfrm>
        </p:grpSpPr>
        <p:cxnSp>
          <p:nvCxnSpPr>
            <p:cNvPr id="38" name="Straight Connector 37"/>
            <p:cNvCxnSpPr/>
            <p:nvPr/>
          </p:nvCxnSpPr>
          <p:spPr>
            <a:xfrm>
              <a:off x="6096001" y="1877259"/>
              <a:ext cx="0" cy="44869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5942914" y="3967299"/>
              <a:ext cx="306171" cy="306910"/>
              <a:chOff x="5937564" y="3833745"/>
              <a:chExt cx="306171" cy="306910"/>
            </a:xfrm>
          </p:grpSpPr>
          <p:sp>
            <p:nvSpPr>
              <p:cNvPr id="4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42" name="Group 41"/>
          <p:cNvGrpSpPr/>
          <p:nvPr/>
        </p:nvGrpSpPr>
        <p:grpSpPr>
          <a:xfrm rot="5400000">
            <a:off x="8912296" y="973486"/>
            <a:ext cx="306171" cy="4486989"/>
            <a:chOff x="5942914" y="1877259"/>
            <a:chExt cx="306171" cy="4486989"/>
          </a:xfrm>
        </p:grpSpPr>
        <p:cxnSp>
          <p:nvCxnSpPr>
            <p:cNvPr id="43" name="Straight Connector 42"/>
            <p:cNvCxnSpPr/>
            <p:nvPr/>
          </p:nvCxnSpPr>
          <p:spPr>
            <a:xfrm>
              <a:off x="6096001" y="1877259"/>
              <a:ext cx="0" cy="44869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5942914" y="3967299"/>
              <a:ext cx="306171" cy="306910"/>
              <a:chOff x="5937564" y="3833745"/>
              <a:chExt cx="306171" cy="306910"/>
            </a:xfrm>
          </p:grpSpPr>
          <p:sp>
            <p:nvSpPr>
              <p:cNvPr id="45"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6"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30" name="bcgIcons_Target">
            <a:extLst>
              <a:ext uri="{FF2B5EF4-FFF2-40B4-BE49-F238E27FC236}">
                <a16:creationId xmlns:a16="http://schemas.microsoft.com/office/drawing/2014/main" id="{A166086B-2F46-2547-BBC4-689C55688B9B}"/>
              </a:ext>
            </a:extLst>
          </p:cNvPr>
          <p:cNvGrpSpPr>
            <a:grpSpLocks noChangeAspect="1"/>
          </p:cNvGrpSpPr>
          <p:nvPr/>
        </p:nvGrpSpPr>
        <p:grpSpPr bwMode="auto">
          <a:xfrm>
            <a:off x="462408" y="1748180"/>
            <a:ext cx="843835" cy="844617"/>
            <a:chOff x="1682" y="0"/>
            <a:chExt cx="4316" cy="4320"/>
          </a:xfrm>
        </p:grpSpPr>
        <p:sp>
          <p:nvSpPr>
            <p:cNvPr id="31" name="AutoShape 23">
              <a:extLst>
                <a:ext uri="{FF2B5EF4-FFF2-40B4-BE49-F238E27FC236}">
                  <a16:creationId xmlns:a16="http://schemas.microsoft.com/office/drawing/2014/main" id="{00B01AF0-66FD-6043-9435-73D25D1BB2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5">
              <a:extLst>
                <a:ext uri="{FF2B5EF4-FFF2-40B4-BE49-F238E27FC236}">
                  <a16:creationId xmlns:a16="http://schemas.microsoft.com/office/drawing/2014/main" id="{4724DBFF-94E2-E543-8F94-13E9D642D242}"/>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6">
              <a:extLst>
                <a:ext uri="{FF2B5EF4-FFF2-40B4-BE49-F238E27FC236}">
                  <a16:creationId xmlns:a16="http://schemas.microsoft.com/office/drawing/2014/main" id="{00AF4DAF-631A-5346-87DA-FB39DBF742A3}"/>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TextBox 4">
            <a:extLst>
              <a:ext uri="{FF2B5EF4-FFF2-40B4-BE49-F238E27FC236}">
                <a16:creationId xmlns:a16="http://schemas.microsoft.com/office/drawing/2014/main" id="{34A6E280-3032-2445-82C6-0FB48B8B170E}"/>
              </a:ext>
            </a:extLst>
          </p:cNvPr>
          <p:cNvSpPr txBox="1"/>
          <p:nvPr/>
        </p:nvSpPr>
        <p:spPr>
          <a:xfrm>
            <a:off x="5763802" y="409938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FR" dirty="0" err="1">
              <a:solidFill>
                <a:srgbClr val="575757"/>
              </a:solidFill>
            </a:endParaRPr>
          </a:p>
        </p:txBody>
      </p:sp>
      <p:grpSp>
        <p:nvGrpSpPr>
          <p:cNvPr id="49" name="bcgIcons_AugmentedReality">
            <a:extLst>
              <a:ext uri="{FF2B5EF4-FFF2-40B4-BE49-F238E27FC236}">
                <a16:creationId xmlns:a16="http://schemas.microsoft.com/office/drawing/2014/main" id="{21032099-5AD0-BD4C-871A-ACB8E1E46E9B}"/>
              </a:ext>
            </a:extLst>
          </p:cNvPr>
          <p:cNvGrpSpPr>
            <a:grpSpLocks noChangeAspect="1"/>
          </p:cNvGrpSpPr>
          <p:nvPr/>
        </p:nvGrpSpPr>
        <p:grpSpPr bwMode="auto">
          <a:xfrm>
            <a:off x="6438325" y="1824963"/>
            <a:ext cx="767123" cy="767834"/>
            <a:chOff x="1682" y="0"/>
            <a:chExt cx="4316" cy="4320"/>
          </a:xfrm>
        </p:grpSpPr>
        <p:sp>
          <p:nvSpPr>
            <p:cNvPr id="50" name="AutoShape 8">
              <a:extLst>
                <a:ext uri="{FF2B5EF4-FFF2-40B4-BE49-F238E27FC236}">
                  <a16:creationId xmlns:a16="http://schemas.microsoft.com/office/drawing/2014/main" id="{44EADBBB-A202-604B-8327-11A8AB805AB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0">
              <a:extLst>
                <a:ext uri="{FF2B5EF4-FFF2-40B4-BE49-F238E27FC236}">
                  <a16:creationId xmlns:a16="http://schemas.microsoft.com/office/drawing/2014/main" id="{FF5C6D9C-7379-6043-8BCB-3C89789DC9E2}"/>
                </a:ext>
              </a:extLst>
            </p:cNvPr>
            <p:cNvSpPr>
              <a:spLocks/>
            </p:cNvSpPr>
            <p:nvPr/>
          </p:nvSpPr>
          <p:spPr bwMode="auto">
            <a:xfrm>
              <a:off x="4327" y="1346"/>
              <a:ext cx="4" cy="15"/>
            </a:xfrm>
            <a:custGeom>
              <a:avLst/>
              <a:gdLst>
                <a:gd name="T0" fmla="*/ 0 w 2"/>
                <a:gd name="T1" fmla="*/ 0 h 8"/>
                <a:gd name="T2" fmla="*/ 2 w 2"/>
                <a:gd name="T3" fmla="*/ 8 h 8"/>
                <a:gd name="T4" fmla="*/ 0 w 2"/>
                <a:gd name="T5" fmla="*/ 0 h 8"/>
              </a:gdLst>
              <a:ahLst/>
              <a:cxnLst>
                <a:cxn ang="0">
                  <a:pos x="T0" y="T1"/>
                </a:cxn>
                <a:cxn ang="0">
                  <a:pos x="T2" y="T3"/>
                </a:cxn>
                <a:cxn ang="0">
                  <a:pos x="T4" y="T5"/>
                </a:cxn>
              </a:cxnLst>
              <a:rect l="0" t="0" r="r" b="b"/>
              <a:pathLst>
                <a:path w="2" h="8">
                  <a:moveTo>
                    <a:pt x="0" y="0"/>
                  </a:moveTo>
                  <a:cubicBezTo>
                    <a:pt x="1" y="3"/>
                    <a:pt x="1" y="5"/>
                    <a:pt x="2" y="8"/>
                  </a:cubicBezTo>
                  <a:cubicBezTo>
                    <a:pt x="1" y="5"/>
                    <a:pt x="1" y="3"/>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1">
              <a:extLst>
                <a:ext uri="{FF2B5EF4-FFF2-40B4-BE49-F238E27FC236}">
                  <a16:creationId xmlns:a16="http://schemas.microsoft.com/office/drawing/2014/main" id="{9C544F53-8EC2-454A-84FC-FF51A4C43D44}"/>
                </a:ext>
              </a:extLst>
            </p:cNvPr>
            <p:cNvSpPr>
              <a:spLocks noEditPoints="1"/>
            </p:cNvSpPr>
            <p:nvPr/>
          </p:nvSpPr>
          <p:spPr bwMode="auto">
            <a:xfrm>
              <a:off x="2092" y="407"/>
              <a:ext cx="3501" cy="3504"/>
            </a:xfrm>
            <a:custGeom>
              <a:avLst/>
              <a:gdLst>
                <a:gd name="T0" fmla="*/ 1395 w 1869"/>
                <a:gd name="T1" fmla="*/ 1279 h 1869"/>
                <a:gd name="T2" fmla="*/ 498 w 1869"/>
                <a:gd name="T3" fmla="*/ 1284 h 1869"/>
                <a:gd name="T4" fmla="*/ 0 w 1869"/>
                <a:gd name="T5" fmla="*/ 935 h 1869"/>
                <a:gd name="T6" fmla="*/ 374 w 1869"/>
                <a:gd name="T7" fmla="*/ 618 h 1869"/>
                <a:gd name="T8" fmla="*/ 206 w 1869"/>
                <a:gd name="T9" fmla="*/ 534 h 1869"/>
                <a:gd name="T10" fmla="*/ 443 w 1869"/>
                <a:gd name="T11" fmla="*/ 597 h 1869"/>
                <a:gd name="T12" fmla="*/ 380 w 1869"/>
                <a:gd name="T13" fmla="*/ 834 h 1869"/>
                <a:gd name="T14" fmla="*/ 352 w 1869"/>
                <a:gd name="T15" fmla="*/ 847 h 1869"/>
                <a:gd name="T16" fmla="*/ 397 w 1869"/>
                <a:gd name="T17" fmla="*/ 657 h 1869"/>
                <a:gd name="T18" fmla="*/ 44 w 1869"/>
                <a:gd name="T19" fmla="*/ 935 h 1869"/>
                <a:gd name="T20" fmla="*/ 507 w 1869"/>
                <a:gd name="T21" fmla="*/ 1241 h 1869"/>
                <a:gd name="T22" fmla="*/ 1385 w 1869"/>
                <a:gd name="T23" fmla="*/ 1236 h 1869"/>
                <a:gd name="T24" fmla="*/ 1352 w 1869"/>
                <a:gd name="T25" fmla="*/ 627 h 1869"/>
                <a:gd name="T26" fmla="*/ 1347 w 1869"/>
                <a:gd name="T27" fmla="*/ 581 h 1869"/>
                <a:gd name="T28" fmla="*/ 1476 w 1869"/>
                <a:gd name="T29" fmla="*/ 823 h 1869"/>
                <a:gd name="T30" fmla="*/ 1330 w 1869"/>
                <a:gd name="T31" fmla="*/ 938 h 1869"/>
                <a:gd name="T32" fmla="*/ 1221 w 1869"/>
                <a:gd name="T33" fmla="*/ 287 h 1869"/>
                <a:gd name="T34" fmla="*/ 942 w 1869"/>
                <a:gd name="T35" fmla="*/ 1 h 1869"/>
                <a:gd name="T36" fmla="*/ 936 w 1869"/>
                <a:gd name="T37" fmla="*/ 0 h 1869"/>
                <a:gd name="T38" fmla="*/ 933 w 1869"/>
                <a:gd name="T39" fmla="*/ 0 h 1869"/>
                <a:gd name="T40" fmla="*/ 919 w 1869"/>
                <a:gd name="T41" fmla="*/ 1 h 1869"/>
                <a:gd name="T42" fmla="*/ 541 w 1869"/>
                <a:gd name="T43" fmla="*/ 935 h 1869"/>
                <a:gd name="T44" fmla="*/ 603 w 1869"/>
                <a:gd name="T45" fmla="*/ 1214 h 1869"/>
                <a:gd name="T46" fmla="*/ 692 w 1869"/>
                <a:gd name="T47" fmla="*/ 298 h 1869"/>
                <a:gd name="T48" fmla="*/ 937 w 1869"/>
                <a:gd name="T49" fmla="*/ 44 h 1869"/>
                <a:gd name="T50" fmla="*/ 942 w 1869"/>
                <a:gd name="T51" fmla="*/ 45 h 1869"/>
                <a:gd name="T52" fmla="*/ 1286 w 1869"/>
                <a:gd name="T53" fmla="*/ 935 h 1869"/>
                <a:gd name="T54" fmla="*/ 1162 w 1869"/>
                <a:gd name="T55" fmla="*/ 823 h 1869"/>
                <a:gd name="T56" fmla="*/ 1131 w 1869"/>
                <a:gd name="T57" fmla="*/ 855 h 1869"/>
                <a:gd name="T58" fmla="*/ 1303 w 1869"/>
                <a:gd name="T59" fmla="*/ 1018 h 1869"/>
                <a:gd name="T60" fmla="*/ 1319 w 1869"/>
                <a:gd name="T61" fmla="*/ 1011 h 1869"/>
                <a:gd name="T62" fmla="*/ 1476 w 1869"/>
                <a:gd name="T63" fmla="*/ 823 h 1869"/>
                <a:gd name="T64" fmla="*/ 941 w 1869"/>
                <a:gd name="T65" fmla="*/ 1825 h 1869"/>
                <a:gd name="T66" fmla="*/ 936 w 1869"/>
                <a:gd name="T67" fmla="*/ 1825 h 1869"/>
                <a:gd name="T68" fmla="*/ 935 w 1869"/>
                <a:gd name="T69" fmla="*/ 1825 h 1869"/>
                <a:gd name="T70" fmla="*/ 933 w 1869"/>
                <a:gd name="T71" fmla="*/ 1825 h 1869"/>
                <a:gd name="T72" fmla="*/ 690 w 1869"/>
                <a:gd name="T73" fmla="*/ 1567 h 1869"/>
                <a:gd name="T74" fmla="*/ 580 w 1869"/>
                <a:gd name="T75" fmla="*/ 1344 h 1869"/>
                <a:gd name="T76" fmla="*/ 932 w 1869"/>
                <a:gd name="T77" fmla="*/ 1869 h 1869"/>
                <a:gd name="T78" fmla="*/ 935 w 1869"/>
                <a:gd name="T79" fmla="*/ 1869 h 1869"/>
                <a:gd name="T80" fmla="*/ 938 w 1869"/>
                <a:gd name="T81" fmla="*/ 1869 h 1869"/>
                <a:gd name="T82" fmla="*/ 943 w 1869"/>
                <a:gd name="T83" fmla="*/ 1869 h 1869"/>
                <a:gd name="T84" fmla="*/ 1290 w 1869"/>
                <a:gd name="T85" fmla="*/ 1344 h 1869"/>
                <a:gd name="T86" fmla="*/ 1125 w 1869"/>
                <a:gd name="T87" fmla="*/ 1679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9" h="1869">
                  <a:moveTo>
                    <a:pt x="1869" y="935"/>
                  </a:moveTo>
                  <a:cubicBezTo>
                    <a:pt x="1869" y="1080"/>
                    <a:pt x="1692" y="1209"/>
                    <a:pt x="1395" y="1279"/>
                  </a:cubicBezTo>
                  <a:cubicBezTo>
                    <a:pt x="1256" y="1311"/>
                    <a:pt x="1096" y="1329"/>
                    <a:pt x="935" y="1329"/>
                  </a:cubicBezTo>
                  <a:cubicBezTo>
                    <a:pt x="782" y="1329"/>
                    <a:pt x="631" y="1313"/>
                    <a:pt x="498" y="1284"/>
                  </a:cubicBezTo>
                  <a:cubicBezTo>
                    <a:pt x="352" y="1252"/>
                    <a:pt x="230" y="1204"/>
                    <a:pt x="143" y="1146"/>
                  </a:cubicBezTo>
                  <a:cubicBezTo>
                    <a:pt x="49" y="1084"/>
                    <a:pt x="0" y="1011"/>
                    <a:pt x="0" y="935"/>
                  </a:cubicBezTo>
                  <a:cubicBezTo>
                    <a:pt x="0" y="865"/>
                    <a:pt x="42" y="797"/>
                    <a:pt x="121" y="738"/>
                  </a:cubicBezTo>
                  <a:cubicBezTo>
                    <a:pt x="184" y="692"/>
                    <a:pt x="271" y="651"/>
                    <a:pt x="374" y="618"/>
                  </a:cubicBezTo>
                  <a:cubicBezTo>
                    <a:pt x="219" y="562"/>
                    <a:pt x="219" y="562"/>
                    <a:pt x="219" y="562"/>
                  </a:cubicBezTo>
                  <a:cubicBezTo>
                    <a:pt x="207" y="558"/>
                    <a:pt x="202" y="545"/>
                    <a:pt x="206" y="534"/>
                  </a:cubicBezTo>
                  <a:cubicBezTo>
                    <a:pt x="210" y="522"/>
                    <a:pt x="223" y="517"/>
                    <a:pt x="234" y="521"/>
                  </a:cubicBezTo>
                  <a:cubicBezTo>
                    <a:pt x="443" y="597"/>
                    <a:pt x="443" y="597"/>
                    <a:pt x="443" y="597"/>
                  </a:cubicBezTo>
                  <a:cubicBezTo>
                    <a:pt x="454" y="601"/>
                    <a:pt x="460" y="613"/>
                    <a:pt x="456" y="625"/>
                  </a:cubicBezTo>
                  <a:cubicBezTo>
                    <a:pt x="380" y="834"/>
                    <a:pt x="380" y="834"/>
                    <a:pt x="380" y="834"/>
                  </a:cubicBezTo>
                  <a:cubicBezTo>
                    <a:pt x="377" y="842"/>
                    <a:pt x="368" y="848"/>
                    <a:pt x="359" y="848"/>
                  </a:cubicBezTo>
                  <a:cubicBezTo>
                    <a:pt x="357" y="848"/>
                    <a:pt x="354" y="848"/>
                    <a:pt x="352" y="847"/>
                  </a:cubicBezTo>
                  <a:cubicBezTo>
                    <a:pt x="340" y="843"/>
                    <a:pt x="334" y="830"/>
                    <a:pt x="338" y="818"/>
                  </a:cubicBezTo>
                  <a:cubicBezTo>
                    <a:pt x="397" y="657"/>
                    <a:pt x="397" y="657"/>
                    <a:pt x="397" y="657"/>
                  </a:cubicBezTo>
                  <a:cubicBezTo>
                    <a:pt x="294" y="688"/>
                    <a:pt x="208" y="728"/>
                    <a:pt x="147" y="774"/>
                  </a:cubicBezTo>
                  <a:cubicBezTo>
                    <a:pt x="80" y="824"/>
                    <a:pt x="44" y="880"/>
                    <a:pt x="44" y="935"/>
                  </a:cubicBezTo>
                  <a:cubicBezTo>
                    <a:pt x="44" y="1012"/>
                    <a:pt x="111" y="1072"/>
                    <a:pt x="167" y="1110"/>
                  </a:cubicBezTo>
                  <a:cubicBezTo>
                    <a:pt x="250" y="1165"/>
                    <a:pt x="367" y="1210"/>
                    <a:pt x="507" y="1241"/>
                  </a:cubicBezTo>
                  <a:cubicBezTo>
                    <a:pt x="638" y="1270"/>
                    <a:pt x="785" y="1285"/>
                    <a:pt x="935" y="1285"/>
                  </a:cubicBezTo>
                  <a:cubicBezTo>
                    <a:pt x="1093" y="1285"/>
                    <a:pt x="1249" y="1268"/>
                    <a:pt x="1385" y="1236"/>
                  </a:cubicBezTo>
                  <a:cubicBezTo>
                    <a:pt x="1656" y="1172"/>
                    <a:pt x="1825" y="1057"/>
                    <a:pt x="1825" y="935"/>
                  </a:cubicBezTo>
                  <a:cubicBezTo>
                    <a:pt x="1825" y="808"/>
                    <a:pt x="1640" y="688"/>
                    <a:pt x="1352" y="627"/>
                  </a:cubicBezTo>
                  <a:cubicBezTo>
                    <a:pt x="1350" y="611"/>
                    <a:pt x="1348" y="596"/>
                    <a:pt x="1345" y="580"/>
                  </a:cubicBezTo>
                  <a:cubicBezTo>
                    <a:pt x="1346" y="580"/>
                    <a:pt x="1347" y="580"/>
                    <a:pt x="1347" y="581"/>
                  </a:cubicBezTo>
                  <a:cubicBezTo>
                    <a:pt x="1669" y="646"/>
                    <a:pt x="1869" y="782"/>
                    <a:pt x="1869" y="935"/>
                  </a:cubicBezTo>
                  <a:close/>
                  <a:moveTo>
                    <a:pt x="1476" y="823"/>
                  </a:moveTo>
                  <a:cubicBezTo>
                    <a:pt x="1467" y="814"/>
                    <a:pt x="1453" y="814"/>
                    <a:pt x="1445" y="823"/>
                  </a:cubicBezTo>
                  <a:cubicBezTo>
                    <a:pt x="1330" y="938"/>
                    <a:pt x="1330" y="938"/>
                    <a:pt x="1330" y="938"/>
                  </a:cubicBezTo>
                  <a:cubicBezTo>
                    <a:pt x="1330" y="937"/>
                    <a:pt x="1330" y="936"/>
                    <a:pt x="1330" y="935"/>
                  </a:cubicBezTo>
                  <a:cubicBezTo>
                    <a:pt x="1330" y="691"/>
                    <a:pt x="1291" y="461"/>
                    <a:pt x="1221" y="287"/>
                  </a:cubicBezTo>
                  <a:cubicBezTo>
                    <a:pt x="1149" y="107"/>
                    <a:pt x="1051" y="5"/>
                    <a:pt x="944" y="1"/>
                  </a:cubicBezTo>
                  <a:cubicBezTo>
                    <a:pt x="943" y="1"/>
                    <a:pt x="943" y="1"/>
                    <a:pt x="942" y="1"/>
                  </a:cubicBezTo>
                  <a:cubicBezTo>
                    <a:pt x="940" y="0"/>
                    <a:pt x="940" y="0"/>
                    <a:pt x="940" y="0"/>
                  </a:cubicBezTo>
                  <a:cubicBezTo>
                    <a:pt x="938" y="0"/>
                    <a:pt x="937" y="0"/>
                    <a:pt x="936" y="0"/>
                  </a:cubicBezTo>
                  <a:cubicBezTo>
                    <a:pt x="935" y="0"/>
                    <a:pt x="935" y="0"/>
                    <a:pt x="935" y="0"/>
                  </a:cubicBezTo>
                  <a:cubicBezTo>
                    <a:pt x="934" y="0"/>
                    <a:pt x="934" y="0"/>
                    <a:pt x="933" y="0"/>
                  </a:cubicBezTo>
                  <a:cubicBezTo>
                    <a:pt x="919" y="0"/>
                    <a:pt x="919" y="0"/>
                    <a:pt x="919" y="0"/>
                  </a:cubicBezTo>
                  <a:cubicBezTo>
                    <a:pt x="919" y="1"/>
                    <a:pt x="919" y="1"/>
                    <a:pt x="919" y="1"/>
                  </a:cubicBezTo>
                  <a:cubicBezTo>
                    <a:pt x="816" y="10"/>
                    <a:pt x="721" y="109"/>
                    <a:pt x="651" y="281"/>
                  </a:cubicBezTo>
                  <a:cubicBezTo>
                    <a:pt x="580" y="456"/>
                    <a:pt x="541" y="688"/>
                    <a:pt x="541" y="935"/>
                  </a:cubicBezTo>
                  <a:cubicBezTo>
                    <a:pt x="541" y="1029"/>
                    <a:pt x="546" y="1120"/>
                    <a:pt x="557" y="1206"/>
                  </a:cubicBezTo>
                  <a:cubicBezTo>
                    <a:pt x="572" y="1209"/>
                    <a:pt x="587" y="1212"/>
                    <a:pt x="603" y="1214"/>
                  </a:cubicBezTo>
                  <a:cubicBezTo>
                    <a:pt x="591" y="1125"/>
                    <a:pt x="585" y="1031"/>
                    <a:pt x="585" y="935"/>
                  </a:cubicBezTo>
                  <a:cubicBezTo>
                    <a:pt x="585" y="694"/>
                    <a:pt x="623" y="468"/>
                    <a:pt x="692" y="298"/>
                  </a:cubicBezTo>
                  <a:cubicBezTo>
                    <a:pt x="758" y="137"/>
                    <a:pt x="846" y="44"/>
                    <a:pt x="934" y="44"/>
                  </a:cubicBezTo>
                  <a:cubicBezTo>
                    <a:pt x="937" y="44"/>
                    <a:pt x="937" y="44"/>
                    <a:pt x="937" y="44"/>
                  </a:cubicBezTo>
                  <a:cubicBezTo>
                    <a:pt x="937" y="44"/>
                    <a:pt x="938" y="44"/>
                    <a:pt x="938" y="44"/>
                  </a:cubicBezTo>
                  <a:cubicBezTo>
                    <a:pt x="942" y="45"/>
                    <a:pt x="942" y="45"/>
                    <a:pt x="942" y="45"/>
                  </a:cubicBezTo>
                  <a:cubicBezTo>
                    <a:pt x="1029" y="48"/>
                    <a:pt x="1116" y="143"/>
                    <a:pt x="1180" y="303"/>
                  </a:cubicBezTo>
                  <a:cubicBezTo>
                    <a:pt x="1248" y="473"/>
                    <a:pt x="1286" y="697"/>
                    <a:pt x="1286" y="935"/>
                  </a:cubicBezTo>
                  <a:cubicBezTo>
                    <a:pt x="1286" y="939"/>
                    <a:pt x="1285" y="943"/>
                    <a:pt x="1285" y="947"/>
                  </a:cubicBezTo>
                  <a:cubicBezTo>
                    <a:pt x="1162" y="823"/>
                    <a:pt x="1162" y="823"/>
                    <a:pt x="1162" y="823"/>
                  </a:cubicBezTo>
                  <a:cubicBezTo>
                    <a:pt x="1153" y="815"/>
                    <a:pt x="1139" y="815"/>
                    <a:pt x="1130" y="823"/>
                  </a:cubicBezTo>
                  <a:cubicBezTo>
                    <a:pt x="1122" y="832"/>
                    <a:pt x="1122" y="846"/>
                    <a:pt x="1131" y="855"/>
                  </a:cubicBezTo>
                  <a:cubicBezTo>
                    <a:pt x="1288" y="1011"/>
                    <a:pt x="1288" y="1011"/>
                    <a:pt x="1288" y="1011"/>
                  </a:cubicBezTo>
                  <a:cubicBezTo>
                    <a:pt x="1292" y="1015"/>
                    <a:pt x="1298" y="1018"/>
                    <a:pt x="1303" y="1018"/>
                  </a:cubicBezTo>
                  <a:cubicBezTo>
                    <a:pt x="1303" y="1018"/>
                    <a:pt x="1303" y="1018"/>
                    <a:pt x="1304" y="1018"/>
                  </a:cubicBezTo>
                  <a:cubicBezTo>
                    <a:pt x="1309" y="1018"/>
                    <a:pt x="1315" y="1015"/>
                    <a:pt x="1319" y="1011"/>
                  </a:cubicBezTo>
                  <a:cubicBezTo>
                    <a:pt x="1476" y="854"/>
                    <a:pt x="1476" y="854"/>
                    <a:pt x="1476" y="854"/>
                  </a:cubicBezTo>
                  <a:cubicBezTo>
                    <a:pt x="1484" y="845"/>
                    <a:pt x="1484" y="831"/>
                    <a:pt x="1476" y="823"/>
                  </a:cubicBezTo>
                  <a:close/>
                  <a:moveTo>
                    <a:pt x="1125" y="1679"/>
                  </a:moveTo>
                  <a:cubicBezTo>
                    <a:pt x="1069" y="1772"/>
                    <a:pt x="1006" y="1822"/>
                    <a:pt x="941" y="1825"/>
                  </a:cubicBezTo>
                  <a:cubicBezTo>
                    <a:pt x="940" y="1825"/>
                    <a:pt x="939" y="1825"/>
                    <a:pt x="937" y="1825"/>
                  </a:cubicBezTo>
                  <a:cubicBezTo>
                    <a:pt x="937" y="1825"/>
                    <a:pt x="936" y="1825"/>
                    <a:pt x="936" y="1825"/>
                  </a:cubicBezTo>
                  <a:cubicBezTo>
                    <a:pt x="935" y="1825"/>
                    <a:pt x="935" y="1825"/>
                    <a:pt x="935" y="1825"/>
                  </a:cubicBezTo>
                  <a:cubicBezTo>
                    <a:pt x="935" y="1825"/>
                    <a:pt x="935" y="1825"/>
                    <a:pt x="935" y="1825"/>
                  </a:cubicBezTo>
                  <a:cubicBezTo>
                    <a:pt x="934" y="1825"/>
                    <a:pt x="934" y="1825"/>
                    <a:pt x="934" y="1825"/>
                  </a:cubicBezTo>
                  <a:cubicBezTo>
                    <a:pt x="934" y="1825"/>
                    <a:pt x="933" y="1825"/>
                    <a:pt x="933" y="1825"/>
                  </a:cubicBezTo>
                  <a:cubicBezTo>
                    <a:pt x="932" y="1825"/>
                    <a:pt x="930" y="1825"/>
                    <a:pt x="929" y="1825"/>
                  </a:cubicBezTo>
                  <a:cubicBezTo>
                    <a:pt x="842" y="1821"/>
                    <a:pt x="754" y="1727"/>
                    <a:pt x="690" y="1567"/>
                  </a:cubicBezTo>
                  <a:cubicBezTo>
                    <a:pt x="664" y="1502"/>
                    <a:pt x="643" y="1430"/>
                    <a:pt x="626" y="1351"/>
                  </a:cubicBezTo>
                  <a:cubicBezTo>
                    <a:pt x="610" y="1349"/>
                    <a:pt x="595" y="1347"/>
                    <a:pt x="580" y="1344"/>
                  </a:cubicBezTo>
                  <a:cubicBezTo>
                    <a:pt x="642" y="1652"/>
                    <a:pt x="773" y="1863"/>
                    <a:pt x="927" y="1869"/>
                  </a:cubicBezTo>
                  <a:cubicBezTo>
                    <a:pt x="929" y="1869"/>
                    <a:pt x="930" y="1869"/>
                    <a:pt x="932" y="1869"/>
                  </a:cubicBezTo>
                  <a:cubicBezTo>
                    <a:pt x="932" y="1869"/>
                    <a:pt x="932" y="1869"/>
                    <a:pt x="932" y="1869"/>
                  </a:cubicBezTo>
                  <a:cubicBezTo>
                    <a:pt x="933" y="1869"/>
                    <a:pt x="934" y="1869"/>
                    <a:pt x="935" y="1869"/>
                  </a:cubicBezTo>
                  <a:cubicBezTo>
                    <a:pt x="936" y="1869"/>
                    <a:pt x="936" y="1869"/>
                    <a:pt x="936" y="1869"/>
                  </a:cubicBezTo>
                  <a:cubicBezTo>
                    <a:pt x="936" y="1869"/>
                    <a:pt x="937" y="1869"/>
                    <a:pt x="938" y="1869"/>
                  </a:cubicBezTo>
                  <a:cubicBezTo>
                    <a:pt x="938" y="1869"/>
                    <a:pt x="938" y="1869"/>
                    <a:pt x="938" y="1869"/>
                  </a:cubicBezTo>
                  <a:cubicBezTo>
                    <a:pt x="940" y="1869"/>
                    <a:pt x="941" y="1869"/>
                    <a:pt x="943" y="1869"/>
                  </a:cubicBezTo>
                  <a:cubicBezTo>
                    <a:pt x="1023" y="1866"/>
                    <a:pt x="1099" y="1808"/>
                    <a:pt x="1163" y="1702"/>
                  </a:cubicBezTo>
                  <a:cubicBezTo>
                    <a:pt x="1218" y="1611"/>
                    <a:pt x="1261" y="1488"/>
                    <a:pt x="1290" y="1344"/>
                  </a:cubicBezTo>
                  <a:cubicBezTo>
                    <a:pt x="1275" y="1347"/>
                    <a:pt x="1260" y="1349"/>
                    <a:pt x="1244" y="1351"/>
                  </a:cubicBezTo>
                  <a:cubicBezTo>
                    <a:pt x="1216" y="1483"/>
                    <a:pt x="1175" y="1596"/>
                    <a:pt x="1125" y="167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2">
              <a:extLst>
                <a:ext uri="{FF2B5EF4-FFF2-40B4-BE49-F238E27FC236}">
                  <a16:creationId xmlns:a16="http://schemas.microsoft.com/office/drawing/2014/main" id="{92A04011-9E6D-9B4F-A835-1ACF2039EEB6}"/>
                </a:ext>
              </a:extLst>
            </p:cNvPr>
            <p:cNvSpPr>
              <a:spLocks noEditPoints="1"/>
            </p:cNvSpPr>
            <p:nvPr/>
          </p:nvSpPr>
          <p:spPr bwMode="auto">
            <a:xfrm>
              <a:off x="3286" y="574"/>
              <a:ext cx="1125" cy="3176"/>
            </a:xfrm>
            <a:custGeom>
              <a:avLst/>
              <a:gdLst>
                <a:gd name="T0" fmla="*/ 562 w 601"/>
                <a:gd name="T1" fmla="*/ 1268 h 1694"/>
                <a:gd name="T2" fmla="*/ 301 w 601"/>
                <a:gd name="T3" fmla="*/ 1694 h 1694"/>
                <a:gd name="T4" fmla="*/ 40 w 601"/>
                <a:gd name="T5" fmla="*/ 1269 h 1694"/>
                <a:gd name="T6" fmla="*/ 276 w 601"/>
                <a:gd name="T7" fmla="*/ 1284 h 1694"/>
                <a:gd name="T8" fmla="*/ 276 w 601"/>
                <a:gd name="T9" fmla="*/ 1284 h 1694"/>
                <a:gd name="T10" fmla="*/ 298 w 601"/>
                <a:gd name="T11" fmla="*/ 1284 h 1694"/>
                <a:gd name="T12" fmla="*/ 320 w 601"/>
                <a:gd name="T13" fmla="*/ 1284 h 1694"/>
                <a:gd name="T14" fmla="*/ 320 w 601"/>
                <a:gd name="T15" fmla="*/ 1283 h 1694"/>
                <a:gd name="T16" fmla="*/ 562 w 601"/>
                <a:gd name="T17" fmla="*/ 1268 h 1694"/>
                <a:gd name="T18" fmla="*/ 468 w 601"/>
                <a:gd name="T19" fmla="*/ 791 h 1694"/>
                <a:gd name="T20" fmla="*/ 468 w 601"/>
                <a:gd name="T21" fmla="*/ 709 h 1694"/>
                <a:gd name="T22" fmla="*/ 509 w 601"/>
                <a:gd name="T23" fmla="*/ 692 h 1694"/>
                <a:gd name="T24" fmla="*/ 550 w 601"/>
                <a:gd name="T25" fmla="*/ 709 h 1694"/>
                <a:gd name="T26" fmla="*/ 601 w 601"/>
                <a:gd name="T27" fmla="*/ 759 h 1694"/>
                <a:gd name="T28" fmla="*/ 301 w 601"/>
                <a:gd name="T29" fmla="*/ 0 h 1694"/>
                <a:gd name="T30" fmla="*/ 0 w 601"/>
                <a:gd name="T31" fmla="*/ 847 h 1694"/>
                <a:gd name="T32" fmla="*/ 17 w 601"/>
                <a:gd name="T33" fmla="*/ 1133 h 1694"/>
                <a:gd name="T34" fmla="*/ 298 w 601"/>
                <a:gd name="T35" fmla="*/ 1152 h 1694"/>
                <a:gd name="T36" fmla="*/ 585 w 601"/>
                <a:gd name="T37" fmla="*/ 1132 h 1694"/>
                <a:gd name="T38" fmla="*/ 601 w 601"/>
                <a:gd name="T39" fmla="*/ 924 h 1694"/>
                <a:gd name="T40" fmla="*/ 468 w 601"/>
                <a:gd name="T41" fmla="*/ 791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1" h="1694">
                  <a:moveTo>
                    <a:pt x="562" y="1268"/>
                  </a:moveTo>
                  <a:cubicBezTo>
                    <a:pt x="510" y="1522"/>
                    <a:pt x="413" y="1694"/>
                    <a:pt x="301" y="1694"/>
                  </a:cubicBezTo>
                  <a:cubicBezTo>
                    <a:pt x="189" y="1694"/>
                    <a:pt x="92" y="1523"/>
                    <a:pt x="40" y="1269"/>
                  </a:cubicBezTo>
                  <a:cubicBezTo>
                    <a:pt x="116" y="1278"/>
                    <a:pt x="196" y="1283"/>
                    <a:pt x="276" y="1284"/>
                  </a:cubicBezTo>
                  <a:cubicBezTo>
                    <a:pt x="276" y="1284"/>
                    <a:pt x="276" y="1284"/>
                    <a:pt x="276" y="1284"/>
                  </a:cubicBezTo>
                  <a:cubicBezTo>
                    <a:pt x="298" y="1284"/>
                    <a:pt x="298" y="1284"/>
                    <a:pt x="298" y="1284"/>
                  </a:cubicBezTo>
                  <a:cubicBezTo>
                    <a:pt x="320" y="1284"/>
                    <a:pt x="320" y="1284"/>
                    <a:pt x="320" y="1284"/>
                  </a:cubicBezTo>
                  <a:cubicBezTo>
                    <a:pt x="320" y="1283"/>
                    <a:pt x="320" y="1283"/>
                    <a:pt x="320" y="1283"/>
                  </a:cubicBezTo>
                  <a:cubicBezTo>
                    <a:pt x="402" y="1283"/>
                    <a:pt x="484" y="1277"/>
                    <a:pt x="562" y="1268"/>
                  </a:cubicBezTo>
                  <a:close/>
                  <a:moveTo>
                    <a:pt x="468" y="791"/>
                  </a:moveTo>
                  <a:cubicBezTo>
                    <a:pt x="445" y="769"/>
                    <a:pt x="445" y="732"/>
                    <a:pt x="468" y="709"/>
                  </a:cubicBezTo>
                  <a:cubicBezTo>
                    <a:pt x="479" y="698"/>
                    <a:pt x="493" y="692"/>
                    <a:pt x="509" y="692"/>
                  </a:cubicBezTo>
                  <a:cubicBezTo>
                    <a:pt x="525" y="692"/>
                    <a:pt x="539" y="698"/>
                    <a:pt x="550" y="709"/>
                  </a:cubicBezTo>
                  <a:cubicBezTo>
                    <a:pt x="601" y="759"/>
                    <a:pt x="601" y="759"/>
                    <a:pt x="601" y="759"/>
                  </a:cubicBezTo>
                  <a:cubicBezTo>
                    <a:pt x="585" y="333"/>
                    <a:pt x="457" y="0"/>
                    <a:pt x="301" y="0"/>
                  </a:cubicBezTo>
                  <a:cubicBezTo>
                    <a:pt x="135" y="0"/>
                    <a:pt x="0" y="379"/>
                    <a:pt x="0" y="847"/>
                  </a:cubicBezTo>
                  <a:cubicBezTo>
                    <a:pt x="0" y="947"/>
                    <a:pt x="6" y="1044"/>
                    <a:pt x="17" y="1133"/>
                  </a:cubicBezTo>
                  <a:cubicBezTo>
                    <a:pt x="107" y="1145"/>
                    <a:pt x="202" y="1152"/>
                    <a:pt x="298" y="1152"/>
                  </a:cubicBezTo>
                  <a:cubicBezTo>
                    <a:pt x="396" y="1152"/>
                    <a:pt x="493" y="1145"/>
                    <a:pt x="585" y="1132"/>
                  </a:cubicBezTo>
                  <a:cubicBezTo>
                    <a:pt x="593" y="1066"/>
                    <a:pt x="599" y="996"/>
                    <a:pt x="601" y="924"/>
                  </a:cubicBezTo>
                  <a:lnTo>
                    <a:pt x="468" y="79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8" name="Picture 7">
            <a:extLst>
              <a:ext uri="{FF2B5EF4-FFF2-40B4-BE49-F238E27FC236}">
                <a16:creationId xmlns:a16="http://schemas.microsoft.com/office/drawing/2014/main" id="{AF850766-4EB9-7F40-8AB7-79FC046D2D83}"/>
              </a:ext>
            </a:extLst>
          </p:cNvPr>
          <p:cNvPicPr>
            <a:picLocks noChangeAspect="1"/>
          </p:cNvPicPr>
          <p:nvPr/>
        </p:nvPicPr>
        <p:blipFill>
          <a:blip r:embed="rId8"/>
          <a:stretch>
            <a:fillRect/>
          </a:stretch>
        </p:blipFill>
        <p:spPr>
          <a:xfrm>
            <a:off x="2378294" y="6310153"/>
            <a:ext cx="1192141" cy="304860"/>
          </a:xfrm>
          <a:prstGeom prst="rect">
            <a:avLst/>
          </a:prstGeom>
        </p:spPr>
      </p:pic>
      <p:sp>
        <p:nvSpPr>
          <p:cNvPr id="35" name="ee4pContent1">
            <a:extLst>
              <a:ext uri="{FF2B5EF4-FFF2-40B4-BE49-F238E27FC236}">
                <a16:creationId xmlns:a16="http://schemas.microsoft.com/office/drawing/2014/main" id="{4B17A3FC-C272-AC4D-A817-36A510B61535}"/>
              </a:ext>
            </a:extLst>
          </p:cNvPr>
          <p:cNvSpPr txBox="1"/>
          <p:nvPr/>
        </p:nvSpPr>
        <p:spPr>
          <a:xfrm>
            <a:off x="629400" y="6402986"/>
            <a:ext cx="4995640" cy="24006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Clr>
                <a:schemeClr val="tx2">
                  <a:lumMod val="100000"/>
                </a:schemeClr>
              </a:buClr>
              <a:buSzPct val="100000"/>
              <a:buNone/>
            </a:pPr>
            <a:r>
              <a:rPr lang="fr-FR" sz="800" dirty="0">
                <a:solidFill>
                  <a:schemeClr val="tx1">
                    <a:lumMod val="100000"/>
                  </a:schemeClr>
                </a:solidFill>
              </a:rPr>
              <a:t>1. RMSE: </a:t>
            </a:r>
            <a:r>
              <a:rPr lang="fr-FR" sz="800" dirty="0" err="1">
                <a:solidFill>
                  <a:schemeClr val="tx1">
                    <a:lumMod val="100000"/>
                  </a:schemeClr>
                </a:solidFill>
              </a:rPr>
              <a:t>Root</a:t>
            </a:r>
            <a:r>
              <a:rPr lang="fr-FR" sz="800" dirty="0">
                <a:solidFill>
                  <a:schemeClr val="tx1">
                    <a:lumMod val="100000"/>
                  </a:schemeClr>
                </a:solidFill>
              </a:rPr>
              <a:t> </a:t>
            </a:r>
            <a:r>
              <a:rPr lang="fr-FR" sz="800" dirty="0" err="1">
                <a:solidFill>
                  <a:schemeClr val="tx1">
                    <a:lumMod val="100000"/>
                  </a:schemeClr>
                </a:solidFill>
              </a:rPr>
              <a:t>Mean</a:t>
            </a:r>
            <a:r>
              <a:rPr lang="fr-FR" sz="800" dirty="0">
                <a:solidFill>
                  <a:schemeClr val="tx1">
                    <a:lumMod val="100000"/>
                  </a:schemeClr>
                </a:solidFill>
              </a:rPr>
              <a:t> </a:t>
            </a:r>
            <a:r>
              <a:rPr lang="fr-FR" sz="800" dirty="0" err="1">
                <a:solidFill>
                  <a:schemeClr val="tx1">
                    <a:lumMod val="100000"/>
                  </a:schemeClr>
                </a:solidFill>
              </a:rPr>
              <a:t>Squared</a:t>
            </a:r>
            <a:r>
              <a:rPr lang="fr-FR" sz="800" dirty="0">
                <a:solidFill>
                  <a:schemeClr val="tx1">
                    <a:lumMod val="100000"/>
                  </a:schemeClr>
                </a:solidFill>
              </a:rPr>
              <a:t> </a:t>
            </a:r>
            <a:r>
              <a:rPr lang="fr-FR" sz="800" dirty="0" err="1">
                <a:solidFill>
                  <a:schemeClr val="tx1">
                    <a:lumMod val="100000"/>
                  </a:schemeClr>
                </a:solidFill>
              </a:rPr>
              <a:t>Error</a:t>
            </a:r>
            <a:endParaRPr lang="fr-FR" sz="800" dirty="0">
              <a:solidFill>
                <a:schemeClr val="tx1">
                  <a:lumMod val="100000"/>
                </a:schemeClr>
              </a:solidFill>
            </a:endParaRPr>
          </a:p>
        </p:txBody>
      </p:sp>
    </p:spTree>
    <p:extLst>
      <p:ext uri="{BB962C8B-B14F-4D97-AF65-F5344CB8AC3E}">
        <p14:creationId xmlns:p14="http://schemas.microsoft.com/office/powerpoint/2010/main" val="2303236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86549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44"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3" name="Title 2"/>
          <p:cNvSpPr>
            <a:spLocks noGrp="1"/>
          </p:cNvSpPr>
          <p:nvPr>
            <p:ph type="title"/>
          </p:nvPr>
        </p:nvSpPr>
        <p:spPr>
          <a:xfrm>
            <a:off x="630000" y="622800"/>
            <a:ext cx="10933200" cy="941796"/>
          </a:xfrm>
        </p:spPr>
        <p:txBody>
          <a:bodyPr vert="horz"/>
          <a:lstStyle/>
          <a:p>
            <a:r>
              <a:rPr lang="fr-FR" u="sng" dirty="0">
                <a:solidFill>
                  <a:srgbClr val="03522D"/>
                </a:solidFill>
              </a:rPr>
              <a:t>Livrable 1 :</a:t>
            </a:r>
            <a:r>
              <a:rPr lang="fr-FR" dirty="0">
                <a:solidFill>
                  <a:srgbClr val="03522D"/>
                </a:solidFill>
              </a:rPr>
              <a:t> </a:t>
            </a:r>
            <a:r>
              <a:rPr lang="fr-FR" dirty="0" err="1"/>
              <a:t>LivraisonCo</a:t>
            </a:r>
            <a:r>
              <a:rPr lang="fr-FR" dirty="0"/>
              <a:t> vous charge de la collecte des données</a:t>
            </a:r>
          </a:p>
        </p:txBody>
      </p:sp>
      <p:sp>
        <p:nvSpPr>
          <p:cNvPr id="11" name="ee4pContent1"/>
          <p:cNvSpPr txBox="1"/>
          <p:nvPr/>
        </p:nvSpPr>
        <p:spPr>
          <a:xfrm>
            <a:off x="629399" y="3553054"/>
            <a:ext cx="5260123" cy="312603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fr-FR" sz="1600" dirty="0">
                <a:solidFill>
                  <a:schemeClr val="tx1">
                    <a:lumMod val="100000"/>
                  </a:schemeClr>
                </a:solidFill>
              </a:rPr>
              <a:t>Disponible </a:t>
            </a:r>
            <a:r>
              <a:rPr lang="fr-FR" sz="1600" dirty="0">
                <a:solidFill>
                  <a:schemeClr val="tx1">
                    <a:lumMod val="100000"/>
                  </a:schemeClr>
                </a:solidFill>
                <a:hlinkClick r:id="rId8"/>
              </a:rPr>
              <a:t>ici</a:t>
            </a:r>
            <a:r>
              <a:rPr lang="fr-FR" sz="1600" dirty="0">
                <a:solidFill>
                  <a:schemeClr val="tx1">
                    <a:lumMod val="100000"/>
                  </a:schemeClr>
                </a:solidFill>
              </a:rPr>
              <a:t> (voir slide suivante pour les précisions)</a:t>
            </a:r>
          </a:p>
          <a:p>
            <a:pPr lvl="1">
              <a:buClr>
                <a:schemeClr val="tx2">
                  <a:lumMod val="100000"/>
                </a:schemeClr>
              </a:buClr>
              <a:buSzPct val="100000"/>
            </a:pPr>
            <a:endParaRPr lang="fr-FR" sz="1600" dirty="0">
              <a:solidFill>
                <a:schemeClr val="tx1">
                  <a:lumMod val="100000"/>
                </a:schemeClr>
              </a:solidFill>
              <a:latin typeface="Trebuchet MS" panose="020B0703020202090204" pitchFamily="34" charset="0"/>
            </a:endParaRPr>
          </a:p>
          <a:p>
            <a:pPr lvl="1">
              <a:buClr>
                <a:schemeClr val="tx2">
                  <a:lumMod val="100000"/>
                </a:schemeClr>
              </a:buClr>
              <a:buSzPct val="100000"/>
            </a:pPr>
            <a:r>
              <a:rPr lang="fr-FR" sz="1600" dirty="0">
                <a:solidFill>
                  <a:schemeClr val="tx1">
                    <a:lumMod val="100000"/>
                  </a:schemeClr>
                </a:solidFill>
                <a:latin typeface="Trebuchet MS" panose="020B0703020202090204" pitchFamily="34" charset="0"/>
              </a:rPr>
              <a:t>Données de trafic routier issues des capteurs installés dans la chaussée donnant deux types de données:</a:t>
            </a:r>
          </a:p>
          <a:p>
            <a:pPr lvl="1">
              <a:buClr>
                <a:schemeClr val="tx2">
                  <a:lumMod val="100000"/>
                </a:schemeClr>
              </a:buClr>
              <a:buSzPct val="100000"/>
            </a:pPr>
            <a:endParaRPr lang="fr-FR" sz="1600" dirty="0">
              <a:solidFill>
                <a:schemeClr val="tx1">
                  <a:lumMod val="100000"/>
                </a:schemeClr>
              </a:solidFill>
              <a:latin typeface="Trebuchet MS" panose="020B0703020202090204" pitchFamily="34" charset="0"/>
            </a:endParaRPr>
          </a:p>
          <a:p>
            <a:pPr lvl="2">
              <a:buClr>
                <a:schemeClr val="tx2">
                  <a:lumMod val="100000"/>
                </a:schemeClr>
              </a:buClr>
              <a:buSzPct val="100000"/>
            </a:pPr>
            <a:r>
              <a:rPr lang="fr-FR" sz="1400" dirty="0">
                <a:solidFill>
                  <a:schemeClr val="tx1">
                    <a:lumMod val="100000"/>
                  </a:schemeClr>
                </a:solidFill>
                <a:latin typeface="Trebuchet MS" panose="020B0703020202090204" pitchFamily="34" charset="0"/>
              </a:rPr>
              <a:t>Taux d’occupation: temps de présence des véhicules sur la boucle en pourcentage d’un intervalle de temps fixe</a:t>
            </a:r>
          </a:p>
          <a:p>
            <a:pPr lvl="2">
              <a:buClr>
                <a:schemeClr val="tx2">
                  <a:lumMod val="100000"/>
                </a:schemeClr>
              </a:buClr>
              <a:buSzPct val="100000"/>
            </a:pPr>
            <a:endParaRPr lang="fr-FR" sz="1400" dirty="0">
              <a:solidFill>
                <a:schemeClr val="tx1">
                  <a:lumMod val="100000"/>
                </a:schemeClr>
              </a:solidFill>
              <a:latin typeface="Trebuchet MS" panose="020B0703020202090204" pitchFamily="34" charset="0"/>
            </a:endParaRPr>
          </a:p>
          <a:p>
            <a:pPr lvl="2">
              <a:buClr>
                <a:schemeClr val="tx2">
                  <a:lumMod val="100000"/>
                </a:schemeClr>
              </a:buClr>
              <a:buSzPct val="100000"/>
            </a:pPr>
            <a:r>
              <a:rPr lang="fr-FR" sz="1400" dirty="0">
                <a:solidFill>
                  <a:schemeClr val="tx1">
                    <a:lumMod val="100000"/>
                  </a:schemeClr>
                </a:solidFill>
                <a:latin typeface="Trebuchet MS" panose="020B0703020202090204" pitchFamily="34" charset="0"/>
              </a:rPr>
              <a:t>Débit horaire: nombre de véhicules ayant passé le point de comptage pendant un intervalle de temps fixe</a:t>
            </a:r>
          </a:p>
          <a:p>
            <a:pPr marL="108000" lvl="1" indent="0">
              <a:buClr>
                <a:schemeClr val="tx2">
                  <a:lumMod val="100000"/>
                </a:schemeClr>
              </a:buClr>
              <a:buSzPct val="100000"/>
              <a:buNone/>
            </a:pPr>
            <a:endParaRPr lang="fr-FR" sz="1600" dirty="0">
              <a:solidFill>
                <a:schemeClr val="tx1">
                  <a:lumMod val="100000"/>
                </a:schemeClr>
              </a:solidFill>
            </a:endParaRPr>
          </a:p>
        </p:txBody>
      </p:sp>
      <p:sp>
        <p:nvSpPr>
          <p:cNvPr id="12" name="ee4pContent2"/>
          <p:cNvSpPr txBox="1"/>
          <p:nvPr/>
        </p:nvSpPr>
        <p:spPr>
          <a:xfrm>
            <a:off x="6567560" y="3553054"/>
            <a:ext cx="4741317" cy="2322791"/>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Clr>
                <a:schemeClr val="tx2">
                  <a:lumMod val="100000"/>
                </a:schemeClr>
              </a:buClr>
              <a:buSzPct val="100000"/>
              <a:buNone/>
            </a:pPr>
            <a:r>
              <a:rPr lang="fr-FR" sz="1600" dirty="0">
                <a:solidFill>
                  <a:schemeClr val="tx1">
                    <a:lumMod val="100000"/>
                  </a:schemeClr>
                </a:solidFill>
                <a:effectLst/>
              </a:rPr>
              <a:t>Des sources de données externes (open data) peuvent être également utilisées:</a:t>
            </a:r>
          </a:p>
          <a:p>
            <a:pPr marL="12700" lvl="1" indent="-12700">
              <a:buClr>
                <a:schemeClr val="tx2">
                  <a:lumMod val="100000"/>
                </a:schemeClr>
              </a:buClr>
              <a:buSzPct val="100000"/>
              <a:buFont typeface="Trebuchet MS" panose="020B0703020202090204" pitchFamily="34" charset="0"/>
              <a:buChar char="•"/>
            </a:pPr>
            <a:endParaRPr lang="fr-FR" sz="1600" dirty="0">
              <a:solidFill>
                <a:schemeClr val="tx1">
                  <a:lumMod val="100000"/>
                </a:schemeClr>
              </a:solidFill>
              <a:latin typeface="Trebuchet MS" panose="020B0703020202090204" pitchFamily="34" charset="0"/>
            </a:endParaRPr>
          </a:p>
          <a:p>
            <a:pPr marL="541338" lvl="2" indent="-184150">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Données météo</a:t>
            </a:r>
          </a:p>
          <a:p>
            <a:pPr marL="541338" lvl="2" indent="-184150">
              <a:buClr>
                <a:schemeClr val="tx2">
                  <a:lumMod val="100000"/>
                </a:schemeClr>
              </a:buClr>
              <a:buSzPct val="100000"/>
              <a:buFont typeface="Trebuchet MS" panose="020B0703020202090204" pitchFamily="34" charset="0"/>
              <a:buChar char="•"/>
            </a:pPr>
            <a:r>
              <a:rPr lang="fr-FR" sz="1600" dirty="0">
                <a:solidFill>
                  <a:schemeClr val="tx1">
                    <a:lumMod val="100000"/>
                  </a:schemeClr>
                </a:solidFill>
                <a:effectLst/>
                <a:latin typeface="Trebuchet MS" panose="020B0703020202090204" pitchFamily="34" charset="0"/>
              </a:rPr>
              <a:t>Caractéri</a:t>
            </a:r>
            <a:r>
              <a:rPr lang="fr-FR" sz="1600" dirty="0">
                <a:solidFill>
                  <a:schemeClr val="tx1">
                    <a:lumMod val="100000"/>
                  </a:schemeClr>
                </a:solidFill>
                <a:latin typeface="Trebuchet MS" panose="020B0703020202090204" pitchFamily="34" charset="0"/>
              </a:rPr>
              <a:t>stiques des routes</a:t>
            </a:r>
          </a:p>
          <a:p>
            <a:pPr marL="541338" lvl="2" indent="-184150">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Vacances scolaires, jours fériés</a:t>
            </a:r>
          </a:p>
          <a:p>
            <a:pPr marL="541338" lvl="2" indent="-184150">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Confinements (</a:t>
            </a:r>
            <a:r>
              <a:rPr lang="fr-FR" sz="1600" dirty="0" err="1">
                <a:solidFill>
                  <a:schemeClr val="tx1">
                    <a:lumMod val="100000"/>
                  </a:schemeClr>
                </a:solidFill>
                <a:latin typeface="Trebuchet MS" panose="020B0703020202090204" pitchFamily="34" charset="0"/>
              </a:rPr>
              <a:t>covid</a:t>
            </a:r>
            <a:r>
              <a:rPr lang="fr-FR" sz="1600" dirty="0">
                <a:solidFill>
                  <a:schemeClr val="tx1">
                    <a:lumMod val="100000"/>
                  </a:schemeClr>
                </a:solidFill>
                <a:latin typeface="Trebuchet MS" panose="020B0703020202090204" pitchFamily="34" charset="0"/>
              </a:rPr>
              <a:t>)</a:t>
            </a:r>
          </a:p>
          <a:p>
            <a:pPr marL="541338" lvl="2" indent="-184150">
              <a:buClr>
                <a:schemeClr val="tx2">
                  <a:lumMod val="100000"/>
                </a:schemeClr>
              </a:buClr>
              <a:buSzPct val="100000"/>
              <a:buFont typeface="Trebuchet MS" panose="020B0703020202090204" pitchFamily="34" charset="0"/>
              <a:buChar char="•"/>
            </a:pPr>
            <a:r>
              <a:rPr lang="fr-FR" sz="1600" dirty="0">
                <a:solidFill>
                  <a:schemeClr val="tx1">
                    <a:lumMod val="100000"/>
                  </a:schemeClr>
                </a:solidFill>
                <a:latin typeface="Trebuchet MS" panose="020B0703020202090204" pitchFamily="34" charset="0"/>
              </a:rPr>
              <a:t>…</a:t>
            </a:r>
          </a:p>
          <a:p>
            <a:pPr marL="541338" lvl="2" indent="-184150">
              <a:buClr>
                <a:schemeClr val="tx2">
                  <a:lumMod val="100000"/>
                </a:schemeClr>
              </a:buClr>
              <a:buSzPct val="100000"/>
              <a:buFont typeface="Trebuchet MS" panose="020B0703020202090204" pitchFamily="34" charset="0"/>
              <a:buChar char="•"/>
            </a:pPr>
            <a:endParaRPr lang="fr-FR" sz="1600" dirty="0">
              <a:solidFill>
                <a:schemeClr val="tx1">
                  <a:lumMod val="100000"/>
                </a:schemeClr>
              </a:solidFill>
              <a:effectLst/>
              <a:latin typeface="Trebuchet MS" panose="020B0703020202090204" pitchFamily="34" charset="0"/>
            </a:endParaRPr>
          </a:p>
        </p:txBody>
      </p:sp>
      <p:grpSp>
        <p:nvGrpSpPr>
          <p:cNvPr id="24" name="Group 23"/>
          <p:cNvGrpSpPr>
            <a:grpSpLocks noChangeAspect="1"/>
          </p:cNvGrpSpPr>
          <p:nvPr/>
        </p:nvGrpSpPr>
        <p:grpSpPr>
          <a:xfrm>
            <a:off x="6567560" y="1829622"/>
            <a:ext cx="830047" cy="830047"/>
            <a:chOff x="5273038" y="2606042"/>
            <a:chExt cx="1645920" cy="1645920"/>
          </a:xfrm>
        </p:grpSpPr>
        <p:sp>
          <p:nvSpPr>
            <p:cNvPr id="25" name="AutoShape 3"/>
            <p:cNvSpPr>
              <a:spLocks noChangeAspect="1" noChangeArrowheads="1" noTextEdit="1"/>
            </p:cNvSpPr>
            <p:nvPr/>
          </p:nvSpPr>
          <p:spPr bwMode="auto">
            <a:xfrm>
              <a:off x="5273038" y="2606042"/>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6" name="Group 25"/>
            <p:cNvGrpSpPr/>
            <p:nvPr/>
          </p:nvGrpSpPr>
          <p:grpSpPr>
            <a:xfrm>
              <a:off x="5306394" y="2654914"/>
              <a:ext cx="1579208" cy="1548175"/>
              <a:chOff x="5306394" y="2654914"/>
              <a:chExt cx="1579208" cy="1548175"/>
            </a:xfrm>
          </p:grpSpPr>
          <p:sp>
            <p:nvSpPr>
              <p:cNvPr id="27" name="Freeform 26"/>
              <p:cNvSpPr>
                <a:spLocks/>
              </p:cNvSpPr>
              <p:nvPr/>
            </p:nvSpPr>
            <p:spPr bwMode="auto">
              <a:xfrm>
                <a:off x="5333195" y="2678562"/>
                <a:ext cx="1516644" cy="1497725"/>
              </a:xfrm>
              <a:custGeom>
                <a:avLst/>
                <a:gdLst>
                  <a:gd name="connsiteX0" fmla="*/ 1204823 w 1516644"/>
                  <a:gd name="connsiteY0" fmla="*/ 1308538 h 1497725"/>
                  <a:gd name="connsiteX1" fmla="*/ 1215522 w 1516644"/>
                  <a:gd name="connsiteY1" fmla="*/ 1338636 h 1497725"/>
                  <a:gd name="connsiteX2" fmla="*/ 826790 w 1516644"/>
                  <a:gd name="connsiteY2" fmla="*/ 1497725 h 1497725"/>
                  <a:gd name="connsiteX3" fmla="*/ 818231 w 1516644"/>
                  <a:gd name="connsiteY3" fmla="*/ 1466911 h 1497725"/>
                  <a:gd name="connsiteX4" fmla="*/ 754698 w 1516644"/>
                  <a:gd name="connsiteY4" fmla="*/ 1305386 h 1497725"/>
                  <a:gd name="connsiteX5" fmla="*/ 770935 w 1516644"/>
                  <a:gd name="connsiteY5" fmla="*/ 1435810 h 1497725"/>
                  <a:gd name="connsiteX6" fmla="*/ 763170 w 1516644"/>
                  <a:gd name="connsiteY6" fmla="*/ 1435093 h 1497725"/>
                  <a:gd name="connsiteX7" fmla="*/ 739874 w 1516644"/>
                  <a:gd name="connsiteY7" fmla="*/ 1439393 h 1497725"/>
                  <a:gd name="connsiteX8" fmla="*/ 723638 w 1516644"/>
                  <a:gd name="connsiteY8" fmla="*/ 1307536 h 1497725"/>
                  <a:gd name="connsiteX9" fmla="*/ 732109 w 1516644"/>
                  <a:gd name="connsiteY9" fmla="*/ 1307536 h 1497725"/>
                  <a:gd name="connsiteX10" fmla="*/ 754698 w 1516644"/>
                  <a:gd name="connsiteY10" fmla="*/ 1305386 h 1497725"/>
                  <a:gd name="connsiteX11" fmla="*/ 232705 w 1516644"/>
                  <a:gd name="connsiteY11" fmla="*/ 1221828 h 1497725"/>
                  <a:gd name="connsiteX12" fmla="*/ 711026 w 1516644"/>
                  <a:gd name="connsiteY12" fmla="*/ 1460617 h 1497725"/>
                  <a:gd name="connsiteX13" fmla="*/ 699603 w 1516644"/>
                  <a:gd name="connsiteY13" fmla="*/ 1489842 h 1497725"/>
                  <a:gd name="connsiteX14" fmla="*/ 219141 w 1516644"/>
                  <a:gd name="connsiteY14" fmla="*/ 1250340 h 1497725"/>
                  <a:gd name="connsiteX15" fmla="*/ 232705 w 1516644"/>
                  <a:gd name="connsiteY15" fmla="*/ 1221828 h 1497725"/>
                  <a:gd name="connsiteX16" fmla="*/ 836273 w 1516644"/>
                  <a:gd name="connsiteY16" fmla="*/ 1215522 h 1497725"/>
                  <a:gd name="connsiteX17" fmla="*/ 1213946 w 1516644"/>
                  <a:gd name="connsiteY17" fmla="*/ 1271670 h 1497725"/>
                  <a:gd name="connsiteX18" fmla="*/ 1205363 w 1516644"/>
                  <a:gd name="connsiteY18" fmla="*/ 1302232 h 1497725"/>
                  <a:gd name="connsiteX19" fmla="*/ 827690 w 1516644"/>
                  <a:gd name="connsiteY19" fmla="*/ 1246084 h 1497725"/>
                  <a:gd name="connsiteX20" fmla="*/ 836273 w 1516644"/>
                  <a:gd name="connsiteY20" fmla="*/ 1215522 h 1497725"/>
                  <a:gd name="connsiteX21" fmla="*/ 611424 w 1516644"/>
                  <a:gd name="connsiteY21" fmla="*/ 1120928 h 1497725"/>
                  <a:gd name="connsiteX22" fmla="*/ 644810 w 1516644"/>
                  <a:gd name="connsiteY22" fmla="*/ 1142723 h 1497725"/>
                  <a:gd name="connsiteX23" fmla="*/ 630203 w 1516644"/>
                  <a:gd name="connsiteY23" fmla="*/ 1172955 h 1497725"/>
                  <a:gd name="connsiteX24" fmla="*/ 597513 w 1516644"/>
                  <a:gd name="connsiteY24" fmla="*/ 1152566 h 1497725"/>
                  <a:gd name="connsiteX25" fmla="*/ 611424 w 1516644"/>
                  <a:gd name="connsiteY25" fmla="*/ 1120928 h 1497725"/>
                  <a:gd name="connsiteX26" fmla="*/ 484598 w 1516644"/>
                  <a:gd name="connsiteY26" fmla="*/ 1113046 h 1497725"/>
                  <a:gd name="connsiteX27" fmla="*/ 493179 w 1516644"/>
                  <a:gd name="connsiteY27" fmla="*/ 1143744 h 1497725"/>
                  <a:gd name="connsiteX28" fmla="*/ 435973 w 1516644"/>
                  <a:gd name="connsiteY28" fmla="*/ 1155167 h 1497725"/>
                  <a:gd name="connsiteX29" fmla="*/ 285091 w 1516644"/>
                  <a:gd name="connsiteY29" fmla="*/ 1185151 h 1497725"/>
                  <a:gd name="connsiteX30" fmla="*/ 560396 w 1516644"/>
                  <a:gd name="connsiteY30" fmla="*/ 1193004 h 1497725"/>
                  <a:gd name="connsiteX31" fmla="*/ 626899 w 1516644"/>
                  <a:gd name="connsiteY31" fmla="*/ 1195146 h 1497725"/>
                  <a:gd name="connsiteX32" fmla="*/ 626183 w 1516644"/>
                  <a:gd name="connsiteY32" fmla="*/ 1202285 h 1497725"/>
                  <a:gd name="connsiteX33" fmla="*/ 629044 w 1516644"/>
                  <a:gd name="connsiteY33" fmla="*/ 1226558 h 1497725"/>
                  <a:gd name="connsiteX34" fmla="*/ 234320 w 1516644"/>
                  <a:gd name="connsiteY34" fmla="*/ 1214422 h 1497725"/>
                  <a:gd name="connsiteX35" fmla="*/ 235751 w 1516644"/>
                  <a:gd name="connsiteY35" fmla="*/ 1198716 h 1497725"/>
                  <a:gd name="connsiteX36" fmla="*/ 228600 w 1516644"/>
                  <a:gd name="connsiteY36" fmla="*/ 1164448 h 1497725"/>
                  <a:gd name="connsiteX37" fmla="*/ 484598 w 1516644"/>
                  <a:gd name="connsiteY37" fmla="*/ 1113046 h 1497725"/>
                  <a:gd name="connsiteX38" fmla="*/ 1398975 w 1516644"/>
                  <a:gd name="connsiteY38" fmla="*/ 1102010 h 1497725"/>
                  <a:gd name="connsiteX39" fmla="*/ 1420473 w 1516644"/>
                  <a:gd name="connsiteY39" fmla="*/ 1125721 h 1497725"/>
                  <a:gd name="connsiteX40" fmla="*/ 1318714 w 1516644"/>
                  <a:gd name="connsiteY40" fmla="*/ 1264395 h 1497725"/>
                  <a:gd name="connsiteX41" fmla="*/ 1294349 w 1516644"/>
                  <a:gd name="connsiteY41" fmla="*/ 1244995 h 1497725"/>
                  <a:gd name="connsiteX42" fmla="*/ 1398975 w 1516644"/>
                  <a:gd name="connsiteY42" fmla="*/ 1102010 h 1497725"/>
                  <a:gd name="connsiteX43" fmla="*/ 1391827 w 1516644"/>
                  <a:gd name="connsiteY43" fmla="*/ 1067326 h 1497725"/>
                  <a:gd name="connsiteX44" fmla="*/ 1391827 w 1516644"/>
                  <a:gd name="connsiteY44" fmla="*/ 1073743 h 1497725"/>
                  <a:gd name="connsiteX45" fmla="*/ 1396827 w 1516644"/>
                  <a:gd name="connsiteY45" fmla="*/ 1098699 h 1497725"/>
                  <a:gd name="connsiteX46" fmla="*/ 836854 w 1516644"/>
                  <a:gd name="connsiteY46" fmla="*/ 1209216 h 1497725"/>
                  <a:gd name="connsiteX47" fmla="*/ 837568 w 1516644"/>
                  <a:gd name="connsiteY47" fmla="*/ 1202799 h 1497725"/>
                  <a:gd name="connsiteX48" fmla="*/ 833997 w 1516644"/>
                  <a:gd name="connsiteY48" fmla="*/ 1177843 h 1497725"/>
                  <a:gd name="connsiteX49" fmla="*/ 1391827 w 1516644"/>
                  <a:gd name="connsiteY49" fmla="*/ 1067326 h 1497725"/>
                  <a:gd name="connsiteX50" fmla="*/ 1282680 w 1516644"/>
                  <a:gd name="connsiteY50" fmla="*/ 889176 h 1497725"/>
                  <a:gd name="connsiteX51" fmla="*/ 1323413 w 1516644"/>
                  <a:gd name="connsiteY51" fmla="*/ 931382 h 1497725"/>
                  <a:gd name="connsiteX52" fmla="*/ 1414168 w 1516644"/>
                  <a:gd name="connsiteY52" fmla="*/ 1025808 h 1497725"/>
                  <a:gd name="connsiteX53" fmla="*/ 1395588 w 1516644"/>
                  <a:gd name="connsiteY53" fmla="*/ 1051561 h 1497725"/>
                  <a:gd name="connsiteX54" fmla="*/ 1379152 w 1516644"/>
                  <a:gd name="connsiteY54" fmla="*/ 1034393 h 1497725"/>
                  <a:gd name="connsiteX55" fmla="*/ 1261242 w 1516644"/>
                  <a:gd name="connsiteY55" fmla="*/ 912067 h 1497725"/>
                  <a:gd name="connsiteX56" fmla="*/ 1282680 w 1516644"/>
                  <a:gd name="connsiteY56" fmla="*/ 889176 h 1497725"/>
                  <a:gd name="connsiteX57" fmla="*/ 1129929 w 1516644"/>
                  <a:gd name="connsiteY57" fmla="*/ 876563 h 1497725"/>
                  <a:gd name="connsiteX58" fmla="*/ 1147731 w 1516644"/>
                  <a:gd name="connsiteY58" fmla="*/ 903051 h 1497725"/>
                  <a:gd name="connsiteX59" fmla="*/ 826574 w 1516644"/>
                  <a:gd name="connsiteY59" fmla="*/ 1157189 h 1497725"/>
                  <a:gd name="connsiteX60" fmla="*/ 808772 w 1516644"/>
                  <a:gd name="connsiteY60" fmla="*/ 1130701 h 1497725"/>
                  <a:gd name="connsiteX61" fmla="*/ 1129929 w 1516644"/>
                  <a:gd name="connsiteY61" fmla="*/ 876563 h 1497725"/>
                  <a:gd name="connsiteX62" fmla="*/ 33922 w 1516644"/>
                  <a:gd name="connsiteY62" fmla="*/ 793005 h 1497725"/>
                  <a:gd name="connsiteX63" fmla="*/ 137161 w 1516644"/>
                  <a:gd name="connsiteY63" fmla="*/ 1114069 h 1497725"/>
                  <a:gd name="connsiteX64" fmla="*/ 107257 w 1516644"/>
                  <a:gd name="connsiteY64" fmla="*/ 1124080 h 1497725"/>
                  <a:gd name="connsiteX65" fmla="*/ 4730 w 1516644"/>
                  <a:gd name="connsiteY65" fmla="*/ 805161 h 1497725"/>
                  <a:gd name="connsiteX66" fmla="*/ 33922 w 1516644"/>
                  <a:gd name="connsiteY66" fmla="*/ 793005 h 1497725"/>
                  <a:gd name="connsiteX67" fmla="*/ 1486759 w 1516644"/>
                  <a:gd name="connsiteY67" fmla="*/ 774087 h 1497725"/>
                  <a:gd name="connsiteX68" fmla="*/ 1516644 w 1516644"/>
                  <a:gd name="connsiteY68" fmla="*/ 784096 h 1497725"/>
                  <a:gd name="connsiteX69" fmla="*/ 1468259 w 1516644"/>
                  <a:gd name="connsiteY69" fmla="*/ 1010717 h 1497725"/>
                  <a:gd name="connsiteX70" fmla="*/ 1455451 w 1516644"/>
                  <a:gd name="connsiteY70" fmla="*/ 1009288 h 1497725"/>
                  <a:gd name="connsiteX71" fmla="*/ 1436239 w 1516644"/>
                  <a:gd name="connsiteY71" fmla="*/ 1012147 h 1497725"/>
                  <a:gd name="connsiteX72" fmla="*/ 1486759 w 1516644"/>
                  <a:gd name="connsiteY72" fmla="*/ 774087 h 1497725"/>
                  <a:gd name="connsiteX73" fmla="*/ 52851 w 1516644"/>
                  <a:gd name="connsiteY73" fmla="*/ 759899 h 1497725"/>
                  <a:gd name="connsiteX74" fmla="*/ 513957 w 1516644"/>
                  <a:gd name="connsiteY74" fmla="*/ 1058201 h 1497725"/>
                  <a:gd name="connsiteX75" fmla="*/ 490365 w 1516644"/>
                  <a:gd name="connsiteY75" fmla="*/ 1084669 h 1497725"/>
                  <a:gd name="connsiteX76" fmla="*/ 37838 w 1516644"/>
                  <a:gd name="connsiteY76" fmla="*/ 787798 h 1497725"/>
                  <a:gd name="connsiteX77" fmla="*/ 52851 w 1516644"/>
                  <a:gd name="connsiteY77" fmla="*/ 759899 h 1497725"/>
                  <a:gd name="connsiteX78" fmla="*/ 1458598 w 1516644"/>
                  <a:gd name="connsiteY78" fmla="*/ 728368 h 1497725"/>
                  <a:gd name="connsiteX79" fmla="*/ 1469347 w 1516644"/>
                  <a:gd name="connsiteY79" fmla="*/ 757704 h 1497725"/>
                  <a:gd name="connsiteX80" fmla="*/ 1293059 w 1516644"/>
                  <a:gd name="connsiteY80" fmla="*/ 821385 h 1497725"/>
                  <a:gd name="connsiteX81" fmla="*/ 1280160 w 1516644"/>
                  <a:gd name="connsiteY81" fmla="*/ 792765 h 1497725"/>
                  <a:gd name="connsiteX82" fmla="*/ 1458598 w 1516644"/>
                  <a:gd name="connsiteY82" fmla="*/ 728368 h 1497725"/>
                  <a:gd name="connsiteX83" fmla="*/ 551912 w 1516644"/>
                  <a:gd name="connsiteY83" fmla="*/ 698412 h 1497725"/>
                  <a:gd name="connsiteX84" fmla="*/ 628529 w 1516644"/>
                  <a:gd name="connsiteY84" fmla="*/ 904018 h 1497725"/>
                  <a:gd name="connsiteX85" fmla="*/ 701565 w 1516644"/>
                  <a:gd name="connsiteY85" fmla="*/ 1101772 h 1497725"/>
                  <a:gd name="connsiteX86" fmla="*/ 672923 w 1516644"/>
                  <a:gd name="connsiteY86" fmla="*/ 1114622 h 1497725"/>
                  <a:gd name="connsiteX87" fmla="*/ 521839 w 1516644"/>
                  <a:gd name="connsiteY87" fmla="*/ 708407 h 1497725"/>
                  <a:gd name="connsiteX88" fmla="*/ 551912 w 1516644"/>
                  <a:gd name="connsiteY88" fmla="*/ 698412 h 1497725"/>
                  <a:gd name="connsiteX89" fmla="*/ 580726 w 1516644"/>
                  <a:gd name="connsiteY89" fmla="*/ 649540 h 1497725"/>
                  <a:gd name="connsiteX90" fmla="*/ 1135117 w 1516644"/>
                  <a:gd name="connsiteY90" fmla="*/ 799313 h 1497725"/>
                  <a:gd name="connsiteX91" fmla="*/ 1124387 w 1516644"/>
                  <a:gd name="connsiteY91" fmla="*/ 830844 h 1497725"/>
                  <a:gd name="connsiteX92" fmla="*/ 570711 w 1516644"/>
                  <a:gd name="connsiteY92" fmla="*/ 679638 h 1497725"/>
                  <a:gd name="connsiteX93" fmla="*/ 580726 w 1516644"/>
                  <a:gd name="connsiteY93" fmla="*/ 649540 h 1497725"/>
                  <a:gd name="connsiteX94" fmla="*/ 454766 w 1516644"/>
                  <a:gd name="connsiteY94" fmla="*/ 644810 h 1497725"/>
                  <a:gd name="connsiteX95" fmla="*/ 454766 w 1516644"/>
                  <a:gd name="connsiteY95" fmla="*/ 645519 h 1497725"/>
                  <a:gd name="connsiteX96" fmla="*/ 461930 w 1516644"/>
                  <a:gd name="connsiteY96" fmla="*/ 674585 h 1497725"/>
                  <a:gd name="connsiteX97" fmla="*/ 53600 w 1516644"/>
                  <a:gd name="connsiteY97" fmla="*/ 750440 h 1497725"/>
                  <a:gd name="connsiteX98" fmla="*/ 53600 w 1516644"/>
                  <a:gd name="connsiteY98" fmla="*/ 749022 h 1497725"/>
                  <a:gd name="connsiteX99" fmla="*/ 45720 w 1516644"/>
                  <a:gd name="connsiteY99" fmla="*/ 720665 h 1497725"/>
                  <a:gd name="connsiteX100" fmla="*/ 454766 w 1516644"/>
                  <a:gd name="connsiteY100" fmla="*/ 644810 h 1497725"/>
                  <a:gd name="connsiteX101" fmla="*/ 79516 w 1516644"/>
                  <a:gd name="connsiteY101" fmla="*/ 424092 h 1497725"/>
                  <a:gd name="connsiteX102" fmla="*/ 107205 w 1516644"/>
                  <a:gd name="connsiteY102" fmla="*/ 438446 h 1497725"/>
                  <a:gd name="connsiteX103" fmla="*/ 29818 w 1516644"/>
                  <a:gd name="connsiteY103" fmla="*/ 704718 h 1497725"/>
                  <a:gd name="connsiteX104" fmla="*/ 0 w 1516644"/>
                  <a:gd name="connsiteY104" fmla="*/ 694670 h 1497725"/>
                  <a:gd name="connsiteX105" fmla="*/ 79516 w 1516644"/>
                  <a:gd name="connsiteY105" fmla="*/ 424092 h 1497725"/>
                  <a:gd name="connsiteX106" fmla="*/ 208506 w 1516644"/>
                  <a:gd name="connsiteY106" fmla="*/ 395715 h 1497725"/>
                  <a:gd name="connsiteX107" fmla="*/ 476120 w 1516644"/>
                  <a:gd name="connsiteY107" fmla="*/ 597037 h 1497725"/>
                  <a:gd name="connsiteX108" fmla="*/ 458231 w 1516644"/>
                  <a:gd name="connsiteY108" fmla="*/ 622738 h 1497725"/>
                  <a:gd name="connsiteX109" fmla="*/ 272190 w 1516644"/>
                  <a:gd name="connsiteY109" fmla="*/ 482812 h 1497725"/>
                  <a:gd name="connsiteX110" fmla="*/ 189187 w 1516644"/>
                  <a:gd name="connsiteY110" fmla="*/ 420702 h 1497725"/>
                  <a:gd name="connsiteX111" fmla="*/ 208506 w 1516644"/>
                  <a:gd name="connsiteY111" fmla="*/ 395715 h 1497725"/>
                  <a:gd name="connsiteX112" fmla="*/ 1322678 w 1516644"/>
                  <a:gd name="connsiteY112" fmla="*/ 383102 h 1497725"/>
                  <a:gd name="connsiteX113" fmla="*/ 1352682 w 1516644"/>
                  <a:gd name="connsiteY113" fmla="*/ 392369 h 1497725"/>
                  <a:gd name="connsiteX114" fmla="*/ 1246240 w 1516644"/>
                  <a:gd name="connsiteY114" fmla="*/ 763051 h 1497725"/>
                  <a:gd name="connsiteX115" fmla="*/ 1215521 w 1516644"/>
                  <a:gd name="connsiteY115" fmla="*/ 755923 h 1497725"/>
                  <a:gd name="connsiteX116" fmla="*/ 1322678 w 1516644"/>
                  <a:gd name="connsiteY116" fmla="*/ 383102 h 1497725"/>
                  <a:gd name="connsiteX117" fmla="*/ 1411158 w 1516644"/>
                  <a:gd name="connsiteY117" fmla="*/ 381526 h 1497725"/>
                  <a:gd name="connsiteX118" fmla="*/ 1507184 w 1516644"/>
                  <a:gd name="connsiteY118" fmla="*/ 659746 h 1497725"/>
                  <a:gd name="connsiteX119" fmla="*/ 1478520 w 1516644"/>
                  <a:gd name="connsiteY119" fmla="*/ 674765 h 1497725"/>
                  <a:gd name="connsiteX120" fmla="*/ 1381060 w 1516644"/>
                  <a:gd name="connsiteY120" fmla="*/ 391539 h 1497725"/>
                  <a:gd name="connsiteX121" fmla="*/ 1411158 w 1516644"/>
                  <a:gd name="connsiteY121" fmla="*/ 381526 h 1497725"/>
                  <a:gd name="connsiteX122" fmla="*/ 1011554 w 1516644"/>
                  <a:gd name="connsiteY122" fmla="*/ 316887 h 1497725"/>
                  <a:gd name="connsiteX123" fmla="*/ 1193450 w 1516644"/>
                  <a:gd name="connsiteY123" fmla="*/ 757939 h 1497725"/>
                  <a:gd name="connsiteX124" fmla="*/ 1164089 w 1516644"/>
                  <a:gd name="connsiteY124" fmla="*/ 769358 h 1497725"/>
                  <a:gd name="connsiteX125" fmla="*/ 1036618 w 1516644"/>
                  <a:gd name="connsiteY125" fmla="*/ 461050 h 1497725"/>
                  <a:gd name="connsiteX126" fmla="*/ 982192 w 1516644"/>
                  <a:gd name="connsiteY126" fmla="*/ 329020 h 1497725"/>
                  <a:gd name="connsiteX127" fmla="*/ 1011554 w 1516644"/>
                  <a:gd name="connsiteY127" fmla="*/ 316887 h 1497725"/>
                  <a:gd name="connsiteX128" fmla="*/ 883902 w 1516644"/>
                  <a:gd name="connsiteY128" fmla="*/ 279050 h 1497725"/>
                  <a:gd name="connsiteX129" fmla="*/ 901788 w 1516644"/>
                  <a:gd name="connsiteY129" fmla="*/ 305442 h 1497725"/>
                  <a:gd name="connsiteX130" fmla="*/ 574117 w 1516644"/>
                  <a:gd name="connsiteY130" fmla="*/ 616432 h 1497725"/>
                  <a:gd name="connsiteX131" fmla="*/ 553370 w 1516644"/>
                  <a:gd name="connsiteY131" fmla="*/ 592894 h 1497725"/>
                  <a:gd name="connsiteX132" fmla="*/ 883902 w 1516644"/>
                  <a:gd name="connsiteY132" fmla="*/ 279050 h 1497725"/>
                  <a:gd name="connsiteX133" fmla="*/ 501344 w 1516644"/>
                  <a:gd name="connsiteY133" fmla="*/ 277473 h 1497725"/>
                  <a:gd name="connsiteX134" fmla="*/ 520692 w 1516644"/>
                  <a:gd name="connsiteY134" fmla="*/ 280325 h 1497725"/>
                  <a:gd name="connsiteX135" fmla="*/ 532875 w 1516644"/>
                  <a:gd name="connsiteY135" fmla="*/ 278899 h 1497725"/>
                  <a:gd name="connsiteX136" fmla="*/ 532875 w 1516644"/>
                  <a:gd name="connsiteY136" fmla="*/ 583324 h 1497725"/>
                  <a:gd name="connsiteX137" fmla="*/ 517109 w 1516644"/>
                  <a:gd name="connsiteY137" fmla="*/ 581185 h 1497725"/>
                  <a:gd name="connsiteX138" fmla="*/ 501344 w 1516644"/>
                  <a:gd name="connsiteY138" fmla="*/ 583324 h 1497725"/>
                  <a:gd name="connsiteX139" fmla="*/ 501344 w 1516644"/>
                  <a:gd name="connsiteY139" fmla="*/ 277473 h 1497725"/>
                  <a:gd name="connsiteX140" fmla="*/ 1048408 w 1516644"/>
                  <a:gd name="connsiteY140" fmla="*/ 227024 h 1497725"/>
                  <a:gd name="connsiteX141" fmla="*/ 1275431 w 1516644"/>
                  <a:gd name="connsiteY141" fmla="*/ 263418 h 1497725"/>
                  <a:gd name="connsiteX142" fmla="*/ 1269026 w 1516644"/>
                  <a:gd name="connsiteY142" fmla="*/ 294816 h 1497725"/>
                  <a:gd name="connsiteX143" fmla="*/ 1049120 w 1516644"/>
                  <a:gd name="connsiteY143" fmla="*/ 259136 h 1497725"/>
                  <a:gd name="connsiteX144" fmla="*/ 1050543 w 1516644"/>
                  <a:gd name="connsiteY144" fmla="*/ 244864 h 1497725"/>
                  <a:gd name="connsiteX145" fmla="*/ 1048408 w 1516644"/>
                  <a:gd name="connsiteY145" fmla="*/ 227024 h 1497725"/>
                  <a:gd name="connsiteX146" fmla="*/ 552154 w 1516644"/>
                  <a:gd name="connsiteY146" fmla="*/ 61486 h 1497725"/>
                  <a:gd name="connsiteX147" fmla="*/ 581747 w 1516644"/>
                  <a:gd name="connsiteY147" fmla="*/ 72128 h 1497725"/>
                  <a:gd name="connsiteX148" fmla="*/ 576694 w 1516644"/>
                  <a:gd name="connsiteY148" fmla="*/ 89155 h 1497725"/>
                  <a:gd name="connsiteX149" fmla="*/ 552154 w 1516644"/>
                  <a:gd name="connsiteY149" fmla="*/ 160809 h 1497725"/>
                  <a:gd name="connsiteX150" fmla="*/ 521839 w 1516644"/>
                  <a:gd name="connsiteY150" fmla="*/ 153005 h 1497725"/>
                  <a:gd name="connsiteX151" fmla="*/ 552154 w 1516644"/>
                  <a:gd name="connsiteY151" fmla="*/ 61486 h 1497725"/>
                  <a:gd name="connsiteX152" fmla="*/ 1026661 w 1516644"/>
                  <a:gd name="connsiteY152" fmla="*/ 44144 h 1497725"/>
                  <a:gd name="connsiteX153" fmla="*/ 1297502 w 1516644"/>
                  <a:gd name="connsiteY153" fmla="*/ 229622 h 1497725"/>
                  <a:gd name="connsiteX154" fmla="*/ 1278971 w 1516644"/>
                  <a:gd name="connsiteY154" fmla="*/ 255403 h 1497725"/>
                  <a:gd name="connsiteX155" fmla="*/ 1007417 w 1516644"/>
                  <a:gd name="connsiteY155" fmla="*/ 69209 h 1497725"/>
                  <a:gd name="connsiteX156" fmla="*/ 1026661 w 1516644"/>
                  <a:gd name="connsiteY156" fmla="*/ 44144 h 1497725"/>
                  <a:gd name="connsiteX157" fmla="*/ 530014 w 1516644"/>
                  <a:gd name="connsiteY157" fmla="*/ 33107 h 1497725"/>
                  <a:gd name="connsiteX158" fmla="*/ 548639 w 1516644"/>
                  <a:gd name="connsiteY158" fmla="*/ 58129 h 1497725"/>
                  <a:gd name="connsiteX159" fmla="*/ 209812 w 1516644"/>
                  <a:gd name="connsiteY159" fmla="*/ 301196 h 1497725"/>
                  <a:gd name="connsiteX160" fmla="*/ 457664 w 1516644"/>
                  <a:gd name="connsiteY160" fmla="*/ 219697 h 1497725"/>
                  <a:gd name="connsiteX161" fmla="*/ 466976 w 1516644"/>
                  <a:gd name="connsiteY161" fmla="*/ 249723 h 1497725"/>
                  <a:gd name="connsiteX162" fmla="*/ 214826 w 1516644"/>
                  <a:gd name="connsiteY162" fmla="*/ 332652 h 1497725"/>
                  <a:gd name="connsiteX163" fmla="*/ 179726 w 1516644"/>
                  <a:gd name="connsiteY163" fmla="*/ 284039 h 1497725"/>
                  <a:gd name="connsiteX164" fmla="*/ 530014 w 1516644"/>
                  <a:gd name="connsiteY164" fmla="*/ 33107 h 1497725"/>
                  <a:gd name="connsiteX165" fmla="*/ 650512 w 1516644"/>
                  <a:gd name="connsiteY165" fmla="*/ 0 h 1497725"/>
                  <a:gd name="connsiteX166" fmla="*/ 905591 w 1516644"/>
                  <a:gd name="connsiteY166" fmla="*/ 5692 h 1497725"/>
                  <a:gd name="connsiteX167" fmla="*/ 904166 w 1516644"/>
                  <a:gd name="connsiteY167" fmla="*/ 18500 h 1497725"/>
                  <a:gd name="connsiteX168" fmla="*/ 919129 w 1516644"/>
                  <a:gd name="connsiteY168" fmla="*/ 59770 h 1497725"/>
                  <a:gd name="connsiteX169" fmla="*/ 589236 w 1516644"/>
                  <a:gd name="connsiteY169" fmla="*/ 202078 h 1497725"/>
                  <a:gd name="connsiteX170" fmla="*/ 882791 w 1516644"/>
                  <a:gd name="connsiteY170" fmla="*/ 210617 h 1497725"/>
                  <a:gd name="connsiteX171" fmla="*/ 876378 w 1516644"/>
                  <a:gd name="connsiteY171" fmla="*/ 241213 h 1497725"/>
                  <a:gd name="connsiteX172" fmla="*/ 582111 w 1516644"/>
                  <a:gd name="connsiteY172" fmla="*/ 233386 h 1497725"/>
                  <a:gd name="connsiteX173" fmla="*/ 584961 w 1516644"/>
                  <a:gd name="connsiteY173" fmla="*/ 216309 h 1497725"/>
                  <a:gd name="connsiteX174" fmla="*/ 570711 w 1516644"/>
                  <a:gd name="connsiteY174" fmla="*/ 176463 h 1497725"/>
                  <a:gd name="connsiteX175" fmla="*/ 894191 w 1516644"/>
                  <a:gd name="connsiteY175" fmla="*/ 36289 h 1497725"/>
                  <a:gd name="connsiteX176" fmla="*/ 647662 w 1516644"/>
                  <a:gd name="connsiteY176" fmla="*/ 31308 h 1497725"/>
                  <a:gd name="connsiteX177" fmla="*/ 651225 w 1516644"/>
                  <a:gd name="connsiteY177" fmla="*/ 8538 h 1497725"/>
                  <a:gd name="connsiteX178" fmla="*/ 650512 w 1516644"/>
                  <a:gd name="connsiteY178" fmla="*/ 0 h 149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516644" h="1497725">
                    <a:moveTo>
                      <a:pt x="1204823" y="1308538"/>
                    </a:moveTo>
                    <a:cubicBezTo>
                      <a:pt x="1206250" y="1320004"/>
                      <a:pt x="1209816" y="1330037"/>
                      <a:pt x="1215522" y="1338636"/>
                    </a:cubicBezTo>
                    <a:cubicBezTo>
                      <a:pt x="1215522" y="1338636"/>
                      <a:pt x="1215522" y="1338636"/>
                      <a:pt x="826790" y="1497725"/>
                    </a:cubicBezTo>
                    <a:cubicBezTo>
                      <a:pt x="826790" y="1486259"/>
                      <a:pt x="823937" y="1476227"/>
                      <a:pt x="818231" y="1466911"/>
                    </a:cubicBezTo>
                    <a:close/>
                    <a:moveTo>
                      <a:pt x="754698" y="1305386"/>
                    </a:moveTo>
                    <a:cubicBezTo>
                      <a:pt x="754698" y="1305386"/>
                      <a:pt x="754698" y="1305386"/>
                      <a:pt x="770935" y="1435810"/>
                    </a:cubicBezTo>
                    <a:cubicBezTo>
                      <a:pt x="768111" y="1435810"/>
                      <a:pt x="765287" y="1435093"/>
                      <a:pt x="763170" y="1435093"/>
                    </a:cubicBezTo>
                    <a:cubicBezTo>
                      <a:pt x="754698" y="1435093"/>
                      <a:pt x="746933" y="1436527"/>
                      <a:pt x="739874" y="1439393"/>
                    </a:cubicBezTo>
                    <a:cubicBezTo>
                      <a:pt x="739874" y="1439393"/>
                      <a:pt x="739874" y="1439393"/>
                      <a:pt x="723638" y="1307536"/>
                    </a:cubicBezTo>
                    <a:cubicBezTo>
                      <a:pt x="726461" y="1307536"/>
                      <a:pt x="729285" y="1307536"/>
                      <a:pt x="732109" y="1307536"/>
                    </a:cubicBezTo>
                    <a:cubicBezTo>
                      <a:pt x="739874" y="1307536"/>
                      <a:pt x="746933" y="1306819"/>
                      <a:pt x="754698" y="1305386"/>
                    </a:cubicBezTo>
                    <a:close/>
                    <a:moveTo>
                      <a:pt x="232705" y="1221828"/>
                    </a:moveTo>
                    <a:cubicBezTo>
                      <a:pt x="232705" y="1221828"/>
                      <a:pt x="232705" y="1221828"/>
                      <a:pt x="711026" y="1460617"/>
                    </a:cubicBezTo>
                    <a:cubicBezTo>
                      <a:pt x="705314" y="1469171"/>
                      <a:pt x="701031" y="1479150"/>
                      <a:pt x="699603" y="1489842"/>
                    </a:cubicBezTo>
                    <a:cubicBezTo>
                      <a:pt x="699603" y="1489842"/>
                      <a:pt x="699603" y="1489842"/>
                      <a:pt x="219141" y="1250340"/>
                    </a:cubicBezTo>
                    <a:cubicBezTo>
                      <a:pt x="225566" y="1241787"/>
                      <a:pt x="229849" y="1232520"/>
                      <a:pt x="232705" y="1221828"/>
                    </a:cubicBezTo>
                    <a:close/>
                    <a:moveTo>
                      <a:pt x="836273" y="1215522"/>
                    </a:moveTo>
                    <a:cubicBezTo>
                      <a:pt x="836273" y="1215522"/>
                      <a:pt x="836273" y="1215522"/>
                      <a:pt x="1213946" y="1271670"/>
                    </a:cubicBezTo>
                    <a:cubicBezTo>
                      <a:pt x="1208224" y="1280910"/>
                      <a:pt x="1205363" y="1291571"/>
                      <a:pt x="1205363" y="1302232"/>
                    </a:cubicBezTo>
                    <a:cubicBezTo>
                      <a:pt x="1205363" y="1302232"/>
                      <a:pt x="1205363" y="1302232"/>
                      <a:pt x="827690" y="1246084"/>
                    </a:cubicBezTo>
                    <a:cubicBezTo>
                      <a:pt x="831981" y="1236134"/>
                      <a:pt x="834843" y="1226183"/>
                      <a:pt x="836273" y="1215522"/>
                    </a:cubicBezTo>
                    <a:close/>
                    <a:moveTo>
                      <a:pt x="611424" y="1120928"/>
                    </a:moveTo>
                    <a:cubicBezTo>
                      <a:pt x="611424" y="1120928"/>
                      <a:pt x="611424" y="1120928"/>
                      <a:pt x="644810" y="1142723"/>
                    </a:cubicBezTo>
                    <a:cubicBezTo>
                      <a:pt x="638550" y="1151863"/>
                      <a:pt x="633681" y="1161706"/>
                      <a:pt x="630203" y="1172955"/>
                    </a:cubicBezTo>
                    <a:lnTo>
                      <a:pt x="597513" y="1152566"/>
                    </a:lnTo>
                    <a:cubicBezTo>
                      <a:pt x="604468" y="1143426"/>
                      <a:pt x="609337" y="1132880"/>
                      <a:pt x="611424" y="1120928"/>
                    </a:cubicBezTo>
                    <a:close/>
                    <a:moveTo>
                      <a:pt x="484598" y="1113046"/>
                    </a:moveTo>
                    <a:cubicBezTo>
                      <a:pt x="484598" y="1124469"/>
                      <a:pt x="487458" y="1134463"/>
                      <a:pt x="493179" y="1143744"/>
                    </a:cubicBezTo>
                    <a:cubicBezTo>
                      <a:pt x="493179" y="1143744"/>
                      <a:pt x="493179" y="1143744"/>
                      <a:pt x="435973" y="1155167"/>
                    </a:cubicBezTo>
                    <a:cubicBezTo>
                      <a:pt x="435973" y="1155167"/>
                      <a:pt x="435973" y="1155167"/>
                      <a:pt x="285091" y="1185151"/>
                    </a:cubicBezTo>
                    <a:cubicBezTo>
                      <a:pt x="285091" y="1185151"/>
                      <a:pt x="285091" y="1185151"/>
                      <a:pt x="560396" y="1193004"/>
                    </a:cubicBezTo>
                    <a:cubicBezTo>
                      <a:pt x="560396" y="1193004"/>
                      <a:pt x="560396" y="1193004"/>
                      <a:pt x="626899" y="1195146"/>
                    </a:cubicBezTo>
                    <a:cubicBezTo>
                      <a:pt x="626183" y="1197288"/>
                      <a:pt x="626183" y="1200143"/>
                      <a:pt x="626183" y="1202285"/>
                    </a:cubicBezTo>
                    <a:cubicBezTo>
                      <a:pt x="626183" y="1210852"/>
                      <a:pt x="627614" y="1218705"/>
                      <a:pt x="629044" y="1226558"/>
                    </a:cubicBezTo>
                    <a:cubicBezTo>
                      <a:pt x="629044" y="1226558"/>
                      <a:pt x="629044" y="1226558"/>
                      <a:pt x="234320" y="1214422"/>
                    </a:cubicBezTo>
                    <a:cubicBezTo>
                      <a:pt x="235035" y="1209424"/>
                      <a:pt x="235751" y="1204427"/>
                      <a:pt x="235751" y="1198716"/>
                    </a:cubicBezTo>
                    <a:cubicBezTo>
                      <a:pt x="235751" y="1186579"/>
                      <a:pt x="232890" y="1174443"/>
                      <a:pt x="228600" y="1164448"/>
                    </a:cubicBezTo>
                    <a:cubicBezTo>
                      <a:pt x="228600" y="1164448"/>
                      <a:pt x="228600" y="1164448"/>
                      <a:pt x="484598" y="1113046"/>
                    </a:cubicBezTo>
                    <a:close/>
                    <a:moveTo>
                      <a:pt x="1398975" y="1102010"/>
                    </a:moveTo>
                    <a:cubicBezTo>
                      <a:pt x="1403991" y="1111351"/>
                      <a:pt x="1411157" y="1119973"/>
                      <a:pt x="1420473" y="1125721"/>
                    </a:cubicBezTo>
                    <a:cubicBezTo>
                      <a:pt x="1420473" y="1125721"/>
                      <a:pt x="1420473" y="1125721"/>
                      <a:pt x="1318714" y="1264395"/>
                    </a:cubicBezTo>
                    <a:cubicBezTo>
                      <a:pt x="1312265" y="1256491"/>
                      <a:pt x="1303665" y="1249306"/>
                      <a:pt x="1294349" y="1244995"/>
                    </a:cubicBezTo>
                    <a:cubicBezTo>
                      <a:pt x="1294349" y="1244995"/>
                      <a:pt x="1294349" y="1244995"/>
                      <a:pt x="1398975" y="1102010"/>
                    </a:cubicBezTo>
                    <a:close/>
                    <a:moveTo>
                      <a:pt x="1391827" y="1067326"/>
                    </a:moveTo>
                    <a:cubicBezTo>
                      <a:pt x="1391827" y="1069465"/>
                      <a:pt x="1391827" y="1071604"/>
                      <a:pt x="1391827" y="1073743"/>
                    </a:cubicBezTo>
                    <a:cubicBezTo>
                      <a:pt x="1391827" y="1082299"/>
                      <a:pt x="1393256" y="1090856"/>
                      <a:pt x="1396827" y="1098699"/>
                    </a:cubicBezTo>
                    <a:cubicBezTo>
                      <a:pt x="1396827" y="1098699"/>
                      <a:pt x="1396827" y="1098699"/>
                      <a:pt x="836854" y="1209216"/>
                    </a:cubicBezTo>
                    <a:cubicBezTo>
                      <a:pt x="837568" y="1207077"/>
                      <a:pt x="837568" y="1204938"/>
                      <a:pt x="837568" y="1202799"/>
                    </a:cubicBezTo>
                    <a:cubicBezTo>
                      <a:pt x="837568" y="1194243"/>
                      <a:pt x="836140" y="1185687"/>
                      <a:pt x="833997" y="1177843"/>
                    </a:cubicBezTo>
                    <a:cubicBezTo>
                      <a:pt x="833997" y="1177843"/>
                      <a:pt x="833997" y="1177843"/>
                      <a:pt x="1391827" y="1067326"/>
                    </a:cubicBezTo>
                    <a:close/>
                    <a:moveTo>
                      <a:pt x="1282680" y="889176"/>
                    </a:moveTo>
                    <a:cubicBezTo>
                      <a:pt x="1282680" y="889176"/>
                      <a:pt x="1282680" y="889176"/>
                      <a:pt x="1323413" y="931382"/>
                    </a:cubicBezTo>
                    <a:cubicBezTo>
                      <a:pt x="1323413" y="931382"/>
                      <a:pt x="1323413" y="931382"/>
                      <a:pt x="1414168" y="1025808"/>
                    </a:cubicBezTo>
                    <a:cubicBezTo>
                      <a:pt x="1405593" y="1032247"/>
                      <a:pt x="1399876" y="1041546"/>
                      <a:pt x="1395588" y="1051561"/>
                    </a:cubicBezTo>
                    <a:cubicBezTo>
                      <a:pt x="1395588" y="1051561"/>
                      <a:pt x="1395588" y="1051561"/>
                      <a:pt x="1379152" y="1034393"/>
                    </a:cubicBezTo>
                    <a:cubicBezTo>
                      <a:pt x="1379152" y="1034393"/>
                      <a:pt x="1379152" y="1034393"/>
                      <a:pt x="1261242" y="912067"/>
                    </a:cubicBezTo>
                    <a:cubicBezTo>
                      <a:pt x="1269818" y="905629"/>
                      <a:pt x="1276964" y="898476"/>
                      <a:pt x="1282680" y="889176"/>
                    </a:cubicBezTo>
                    <a:close/>
                    <a:moveTo>
                      <a:pt x="1129929" y="876563"/>
                    </a:moveTo>
                    <a:cubicBezTo>
                      <a:pt x="1134201" y="886585"/>
                      <a:pt x="1140610" y="895176"/>
                      <a:pt x="1147731" y="903051"/>
                    </a:cubicBezTo>
                    <a:lnTo>
                      <a:pt x="826574" y="1157189"/>
                    </a:lnTo>
                    <a:cubicBezTo>
                      <a:pt x="821590" y="1147167"/>
                      <a:pt x="815893" y="1138576"/>
                      <a:pt x="808772" y="1130701"/>
                    </a:cubicBezTo>
                    <a:cubicBezTo>
                      <a:pt x="808772" y="1130701"/>
                      <a:pt x="808772" y="1130701"/>
                      <a:pt x="1129929" y="876563"/>
                    </a:cubicBezTo>
                    <a:close/>
                    <a:moveTo>
                      <a:pt x="33922" y="793005"/>
                    </a:moveTo>
                    <a:lnTo>
                      <a:pt x="137161" y="1114069"/>
                    </a:lnTo>
                    <a:cubicBezTo>
                      <a:pt x="126481" y="1115499"/>
                      <a:pt x="116513" y="1119075"/>
                      <a:pt x="107257" y="1124080"/>
                    </a:cubicBezTo>
                    <a:cubicBezTo>
                      <a:pt x="107257" y="1124080"/>
                      <a:pt x="107257" y="1124080"/>
                      <a:pt x="4730" y="805161"/>
                    </a:cubicBezTo>
                    <a:cubicBezTo>
                      <a:pt x="15410" y="803731"/>
                      <a:pt x="25378" y="799441"/>
                      <a:pt x="33922" y="793005"/>
                    </a:cubicBezTo>
                    <a:close/>
                    <a:moveTo>
                      <a:pt x="1486759" y="774087"/>
                    </a:moveTo>
                    <a:cubicBezTo>
                      <a:pt x="1495298" y="779806"/>
                      <a:pt x="1505259" y="783381"/>
                      <a:pt x="1516644" y="784096"/>
                    </a:cubicBezTo>
                    <a:cubicBezTo>
                      <a:pt x="1516644" y="784096"/>
                      <a:pt x="1516644" y="784096"/>
                      <a:pt x="1468259" y="1010717"/>
                    </a:cubicBezTo>
                    <a:cubicBezTo>
                      <a:pt x="1463990" y="1010002"/>
                      <a:pt x="1459720" y="1009288"/>
                      <a:pt x="1455451" y="1009288"/>
                    </a:cubicBezTo>
                    <a:cubicBezTo>
                      <a:pt x="1448336" y="1009288"/>
                      <a:pt x="1441932" y="1010717"/>
                      <a:pt x="1436239" y="1012147"/>
                    </a:cubicBezTo>
                    <a:cubicBezTo>
                      <a:pt x="1436239" y="1012147"/>
                      <a:pt x="1436239" y="1012147"/>
                      <a:pt x="1486759" y="774087"/>
                    </a:cubicBezTo>
                    <a:close/>
                    <a:moveTo>
                      <a:pt x="52851" y="759899"/>
                    </a:moveTo>
                    <a:cubicBezTo>
                      <a:pt x="52851" y="759899"/>
                      <a:pt x="52851" y="759899"/>
                      <a:pt x="513957" y="1058201"/>
                    </a:cubicBezTo>
                    <a:cubicBezTo>
                      <a:pt x="503948" y="1064639"/>
                      <a:pt x="496084" y="1073224"/>
                      <a:pt x="490365" y="1084669"/>
                    </a:cubicBezTo>
                    <a:lnTo>
                      <a:pt x="37838" y="787798"/>
                    </a:lnTo>
                    <a:cubicBezTo>
                      <a:pt x="45702" y="779929"/>
                      <a:pt x="50706" y="770629"/>
                      <a:pt x="52851" y="759899"/>
                    </a:cubicBezTo>
                    <a:close/>
                    <a:moveTo>
                      <a:pt x="1458598" y="728368"/>
                    </a:moveTo>
                    <a:cubicBezTo>
                      <a:pt x="1459315" y="739101"/>
                      <a:pt x="1463614" y="749118"/>
                      <a:pt x="1469347" y="757704"/>
                    </a:cubicBezTo>
                    <a:cubicBezTo>
                      <a:pt x="1469347" y="757704"/>
                      <a:pt x="1469347" y="757704"/>
                      <a:pt x="1293059" y="821385"/>
                    </a:cubicBezTo>
                    <a:cubicBezTo>
                      <a:pt x="1290910" y="810652"/>
                      <a:pt x="1285893" y="801351"/>
                      <a:pt x="1280160" y="792765"/>
                    </a:cubicBezTo>
                    <a:cubicBezTo>
                      <a:pt x="1280160" y="792765"/>
                      <a:pt x="1280160" y="792765"/>
                      <a:pt x="1458598" y="728368"/>
                    </a:cubicBezTo>
                    <a:close/>
                    <a:moveTo>
                      <a:pt x="551912" y="698412"/>
                    </a:moveTo>
                    <a:cubicBezTo>
                      <a:pt x="551912" y="698412"/>
                      <a:pt x="551912" y="698412"/>
                      <a:pt x="628529" y="904018"/>
                    </a:cubicBezTo>
                    <a:cubicBezTo>
                      <a:pt x="628529" y="904018"/>
                      <a:pt x="628529" y="904018"/>
                      <a:pt x="701565" y="1101772"/>
                    </a:cubicBezTo>
                    <a:cubicBezTo>
                      <a:pt x="691540" y="1104627"/>
                      <a:pt x="682232" y="1108911"/>
                      <a:pt x="672923" y="1114622"/>
                    </a:cubicBezTo>
                    <a:cubicBezTo>
                      <a:pt x="672923" y="1114622"/>
                      <a:pt x="672923" y="1114622"/>
                      <a:pt x="521839" y="708407"/>
                    </a:cubicBezTo>
                    <a:cubicBezTo>
                      <a:pt x="533295" y="707693"/>
                      <a:pt x="543320" y="704123"/>
                      <a:pt x="551912" y="698412"/>
                    </a:cubicBezTo>
                    <a:close/>
                    <a:moveTo>
                      <a:pt x="580726" y="649540"/>
                    </a:moveTo>
                    <a:cubicBezTo>
                      <a:pt x="580726" y="649540"/>
                      <a:pt x="580726" y="649540"/>
                      <a:pt x="1135117" y="799313"/>
                    </a:cubicBezTo>
                    <a:cubicBezTo>
                      <a:pt x="1129394" y="808629"/>
                      <a:pt x="1125818" y="819378"/>
                      <a:pt x="1124387" y="830844"/>
                    </a:cubicBezTo>
                    <a:cubicBezTo>
                      <a:pt x="1124387" y="830844"/>
                      <a:pt x="1124387" y="830844"/>
                      <a:pt x="570711" y="679638"/>
                    </a:cubicBezTo>
                    <a:cubicBezTo>
                      <a:pt x="576433" y="670322"/>
                      <a:pt x="580010" y="660289"/>
                      <a:pt x="580726" y="649540"/>
                    </a:cubicBezTo>
                    <a:close/>
                    <a:moveTo>
                      <a:pt x="454766" y="644810"/>
                    </a:moveTo>
                    <a:cubicBezTo>
                      <a:pt x="454766" y="644810"/>
                      <a:pt x="454766" y="644810"/>
                      <a:pt x="454766" y="645519"/>
                    </a:cubicBezTo>
                    <a:cubicBezTo>
                      <a:pt x="454766" y="656153"/>
                      <a:pt x="457632" y="666078"/>
                      <a:pt x="461930" y="674585"/>
                    </a:cubicBezTo>
                    <a:cubicBezTo>
                      <a:pt x="461930" y="674585"/>
                      <a:pt x="461930" y="674585"/>
                      <a:pt x="53600" y="750440"/>
                    </a:cubicBezTo>
                    <a:cubicBezTo>
                      <a:pt x="53600" y="749731"/>
                      <a:pt x="53600" y="749731"/>
                      <a:pt x="53600" y="749022"/>
                    </a:cubicBezTo>
                    <a:cubicBezTo>
                      <a:pt x="53600" y="738388"/>
                      <a:pt x="50734" y="728463"/>
                      <a:pt x="45720" y="720665"/>
                    </a:cubicBezTo>
                    <a:cubicBezTo>
                      <a:pt x="45720" y="720665"/>
                      <a:pt x="45720" y="720665"/>
                      <a:pt x="454766" y="644810"/>
                    </a:cubicBezTo>
                    <a:close/>
                    <a:moveTo>
                      <a:pt x="79516" y="424092"/>
                    </a:moveTo>
                    <a:cubicBezTo>
                      <a:pt x="87326" y="430552"/>
                      <a:pt x="97265" y="435576"/>
                      <a:pt x="107205" y="438446"/>
                    </a:cubicBezTo>
                    <a:lnTo>
                      <a:pt x="29818" y="704718"/>
                    </a:lnTo>
                    <a:cubicBezTo>
                      <a:pt x="21299" y="698259"/>
                      <a:pt x="11359" y="694670"/>
                      <a:pt x="0" y="694670"/>
                    </a:cubicBezTo>
                    <a:cubicBezTo>
                      <a:pt x="0" y="694670"/>
                      <a:pt x="0" y="694670"/>
                      <a:pt x="79516" y="424092"/>
                    </a:cubicBezTo>
                    <a:close/>
                    <a:moveTo>
                      <a:pt x="208506" y="395715"/>
                    </a:moveTo>
                    <a:cubicBezTo>
                      <a:pt x="208506" y="395715"/>
                      <a:pt x="208506" y="395715"/>
                      <a:pt x="476120" y="597037"/>
                    </a:cubicBezTo>
                    <a:cubicBezTo>
                      <a:pt x="468249" y="604177"/>
                      <a:pt x="461809" y="612743"/>
                      <a:pt x="458231" y="622738"/>
                    </a:cubicBezTo>
                    <a:cubicBezTo>
                      <a:pt x="458231" y="622738"/>
                      <a:pt x="458231" y="622738"/>
                      <a:pt x="272190" y="482812"/>
                    </a:cubicBezTo>
                    <a:cubicBezTo>
                      <a:pt x="272190" y="482812"/>
                      <a:pt x="272190" y="482812"/>
                      <a:pt x="189187" y="420702"/>
                    </a:cubicBezTo>
                    <a:cubicBezTo>
                      <a:pt x="197058" y="413563"/>
                      <a:pt x="203498" y="404996"/>
                      <a:pt x="208506" y="395715"/>
                    </a:cubicBezTo>
                    <a:close/>
                    <a:moveTo>
                      <a:pt x="1322678" y="383102"/>
                    </a:moveTo>
                    <a:cubicBezTo>
                      <a:pt x="1331965" y="388092"/>
                      <a:pt x="1341967" y="390943"/>
                      <a:pt x="1352682" y="392369"/>
                    </a:cubicBezTo>
                    <a:cubicBezTo>
                      <a:pt x="1352682" y="392369"/>
                      <a:pt x="1352682" y="392369"/>
                      <a:pt x="1246240" y="763051"/>
                    </a:cubicBezTo>
                    <a:cubicBezTo>
                      <a:pt x="1236953" y="758774"/>
                      <a:pt x="1226237" y="756635"/>
                      <a:pt x="1215521" y="755923"/>
                    </a:cubicBezTo>
                    <a:cubicBezTo>
                      <a:pt x="1215521" y="755923"/>
                      <a:pt x="1215521" y="755923"/>
                      <a:pt x="1322678" y="383102"/>
                    </a:cubicBezTo>
                    <a:close/>
                    <a:moveTo>
                      <a:pt x="1411158" y="381526"/>
                    </a:moveTo>
                    <a:cubicBezTo>
                      <a:pt x="1411158" y="381526"/>
                      <a:pt x="1411158" y="381526"/>
                      <a:pt x="1507184" y="659746"/>
                    </a:cubicBezTo>
                    <a:cubicBezTo>
                      <a:pt x="1496435" y="661891"/>
                      <a:pt x="1486402" y="667613"/>
                      <a:pt x="1478520" y="674765"/>
                    </a:cubicBezTo>
                    <a:cubicBezTo>
                      <a:pt x="1478520" y="674765"/>
                      <a:pt x="1478520" y="674765"/>
                      <a:pt x="1381060" y="391539"/>
                    </a:cubicBezTo>
                    <a:cubicBezTo>
                      <a:pt x="1391809" y="389394"/>
                      <a:pt x="1401842" y="385817"/>
                      <a:pt x="1411158" y="381526"/>
                    </a:cubicBezTo>
                    <a:close/>
                    <a:moveTo>
                      <a:pt x="1011554" y="316887"/>
                    </a:moveTo>
                    <a:cubicBezTo>
                      <a:pt x="1011554" y="316887"/>
                      <a:pt x="1011554" y="316887"/>
                      <a:pt x="1193450" y="757939"/>
                    </a:cubicBezTo>
                    <a:cubicBezTo>
                      <a:pt x="1182708" y="759367"/>
                      <a:pt x="1172683" y="763649"/>
                      <a:pt x="1164089" y="769358"/>
                    </a:cubicBezTo>
                    <a:lnTo>
                      <a:pt x="1036618" y="461050"/>
                    </a:lnTo>
                    <a:cubicBezTo>
                      <a:pt x="1036618" y="461050"/>
                      <a:pt x="1036618" y="461050"/>
                      <a:pt x="982192" y="329020"/>
                    </a:cubicBezTo>
                    <a:cubicBezTo>
                      <a:pt x="992934" y="326879"/>
                      <a:pt x="1002959" y="322597"/>
                      <a:pt x="1011554" y="316887"/>
                    </a:cubicBezTo>
                    <a:close/>
                    <a:moveTo>
                      <a:pt x="883902" y="279050"/>
                    </a:moveTo>
                    <a:cubicBezTo>
                      <a:pt x="888194" y="289036"/>
                      <a:pt x="894633" y="297595"/>
                      <a:pt x="901788" y="305442"/>
                    </a:cubicBezTo>
                    <a:lnTo>
                      <a:pt x="574117" y="616432"/>
                    </a:lnTo>
                    <a:cubicBezTo>
                      <a:pt x="569109" y="607159"/>
                      <a:pt x="561955" y="599313"/>
                      <a:pt x="553370" y="592894"/>
                    </a:cubicBezTo>
                    <a:cubicBezTo>
                      <a:pt x="553370" y="592894"/>
                      <a:pt x="553370" y="592894"/>
                      <a:pt x="883902" y="279050"/>
                    </a:cubicBezTo>
                    <a:close/>
                    <a:moveTo>
                      <a:pt x="501344" y="277473"/>
                    </a:moveTo>
                    <a:cubicBezTo>
                      <a:pt x="507077" y="278899"/>
                      <a:pt x="513526" y="280325"/>
                      <a:pt x="520692" y="280325"/>
                    </a:cubicBezTo>
                    <a:cubicBezTo>
                      <a:pt x="524275" y="280325"/>
                      <a:pt x="528575" y="279612"/>
                      <a:pt x="532875" y="278899"/>
                    </a:cubicBezTo>
                    <a:cubicBezTo>
                      <a:pt x="532875" y="278899"/>
                      <a:pt x="532875" y="278899"/>
                      <a:pt x="532875" y="583324"/>
                    </a:cubicBezTo>
                    <a:cubicBezTo>
                      <a:pt x="527858" y="581898"/>
                      <a:pt x="522126" y="581185"/>
                      <a:pt x="517109" y="581185"/>
                    </a:cubicBezTo>
                    <a:cubicBezTo>
                      <a:pt x="511376" y="581185"/>
                      <a:pt x="506360" y="581898"/>
                      <a:pt x="501344" y="583324"/>
                    </a:cubicBezTo>
                    <a:cubicBezTo>
                      <a:pt x="501344" y="583324"/>
                      <a:pt x="501344" y="583324"/>
                      <a:pt x="501344" y="277473"/>
                    </a:cubicBezTo>
                    <a:close/>
                    <a:moveTo>
                      <a:pt x="1048408" y="227024"/>
                    </a:moveTo>
                    <a:cubicBezTo>
                      <a:pt x="1048408" y="227024"/>
                      <a:pt x="1048408" y="227024"/>
                      <a:pt x="1275431" y="263418"/>
                    </a:cubicBezTo>
                    <a:cubicBezTo>
                      <a:pt x="1271873" y="273408"/>
                      <a:pt x="1269738" y="284112"/>
                      <a:pt x="1269026" y="294816"/>
                    </a:cubicBezTo>
                    <a:lnTo>
                      <a:pt x="1049120" y="259136"/>
                    </a:lnTo>
                    <a:cubicBezTo>
                      <a:pt x="1049832" y="254141"/>
                      <a:pt x="1050543" y="249146"/>
                      <a:pt x="1050543" y="244864"/>
                    </a:cubicBezTo>
                    <a:cubicBezTo>
                      <a:pt x="1050543" y="238442"/>
                      <a:pt x="1049832" y="232733"/>
                      <a:pt x="1048408" y="227024"/>
                    </a:cubicBezTo>
                    <a:close/>
                    <a:moveTo>
                      <a:pt x="552154" y="61486"/>
                    </a:moveTo>
                    <a:cubicBezTo>
                      <a:pt x="560815" y="67162"/>
                      <a:pt x="570920" y="70709"/>
                      <a:pt x="581747" y="72128"/>
                    </a:cubicBezTo>
                    <a:cubicBezTo>
                      <a:pt x="581747" y="72128"/>
                      <a:pt x="581747" y="72128"/>
                      <a:pt x="576694" y="89155"/>
                    </a:cubicBezTo>
                    <a:cubicBezTo>
                      <a:pt x="576694" y="89155"/>
                      <a:pt x="576694" y="89155"/>
                      <a:pt x="552154" y="160809"/>
                    </a:cubicBezTo>
                    <a:cubicBezTo>
                      <a:pt x="543492" y="155843"/>
                      <a:pt x="532665" y="153005"/>
                      <a:pt x="521839" y="153005"/>
                    </a:cubicBezTo>
                    <a:cubicBezTo>
                      <a:pt x="521839" y="153005"/>
                      <a:pt x="521839" y="153005"/>
                      <a:pt x="552154" y="61486"/>
                    </a:cubicBezTo>
                    <a:close/>
                    <a:moveTo>
                      <a:pt x="1026661" y="44144"/>
                    </a:moveTo>
                    <a:cubicBezTo>
                      <a:pt x="1026661" y="44144"/>
                      <a:pt x="1026661" y="44144"/>
                      <a:pt x="1297502" y="229622"/>
                    </a:cubicBezTo>
                    <a:cubicBezTo>
                      <a:pt x="1290375" y="237500"/>
                      <a:pt x="1283960" y="246093"/>
                      <a:pt x="1278971" y="255403"/>
                    </a:cubicBezTo>
                    <a:cubicBezTo>
                      <a:pt x="1278971" y="255403"/>
                      <a:pt x="1278971" y="255403"/>
                      <a:pt x="1007417" y="69209"/>
                    </a:cubicBezTo>
                    <a:cubicBezTo>
                      <a:pt x="1015970" y="62764"/>
                      <a:pt x="1022385" y="54170"/>
                      <a:pt x="1026661" y="44144"/>
                    </a:cubicBezTo>
                    <a:close/>
                    <a:moveTo>
                      <a:pt x="530014" y="33107"/>
                    </a:moveTo>
                    <a:cubicBezTo>
                      <a:pt x="533596" y="43116"/>
                      <a:pt x="540759" y="51695"/>
                      <a:pt x="548639" y="58129"/>
                    </a:cubicBezTo>
                    <a:cubicBezTo>
                      <a:pt x="548639" y="58129"/>
                      <a:pt x="548639" y="58129"/>
                      <a:pt x="209812" y="301196"/>
                    </a:cubicBezTo>
                    <a:cubicBezTo>
                      <a:pt x="209812" y="301196"/>
                      <a:pt x="209812" y="301196"/>
                      <a:pt x="457664" y="219697"/>
                    </a:cubicBezTo>
                    <a:cubicBezTo>
                      <a:pt x="458380" y="230421"/>
                      <a:pt x="461246" y="241144"/>
                      <a:pt x="466976" y="249723"/>
                    </a:cubicBezTo>
                    <a:cubicBezTo>
                      <a:pt x="466976" y="249723"/>
                      <a:pt x="466976" y="249723"/>
                      <a:pt x="214826" y="332652"/>
                    </a:cubicBezTo>
                    <a:cubicBezTo>
                      <a:pt x="209096" y="312635"/>
                      <a:pt x="196201" y="295477"/>
                      <a:pt x="179726" y="284039"/>
                    </a:cubicBezTo>
                    <a:cubicBezTo>
                      <a:pt x="179726" y="284039"/>
                      <a:pt x="179726" y="284039"/>
                      <a:pt x="530014" y="33107"/>
                    </a:cubicBezTo>
                    <a:close/>
                    <a:moveTo>
                      <a:pt x="650512" y="0"/>
                    </a:moveTo>
                    <a:cubicBezTo>
                      <a:pt x="650512" y="0"/>
                      <a:pt x="650512" y="0"/>
                      <a:pt x="905591" y="5692"/>
                    </a:cubicBezTo>
                    <a:cubicBezTo>
                      <a:pt x="904879" y="9961"/>
                      <a:pt x="904166" y="14231"/>
                      <a:pt x="904166" y="18500"/>
                    </a:cubicBezTo>
                    <a:cubicBezTo>
                      <a:pt x="904166" y="34154"/>
                      <a:pt x="909866" y="49097"/>
                      <a:pt x="919129" y="59770"/>
                    </a:cubicBezTo>
                    <a:cubicBezTo>
                      <a:pt x="919129" y="59770"/>
                      <a:pt x="919129" y="59770"/>
                      <a:pt x="589236" y="202078"/>
                    </a:cubicBezTo>
                    <a:cubicBezTo>
                      <a:pt x="589236" y="202078"/>
                      <a:pt x="589236" y="202078"/>
                      <a:pt x="882791" y="210617"/>
                    </a:cubicBezTo>
                    <a:cubicBezTo>
                      <a:pt x="879228" y="219867"/>
                      <a:pt x="876378" y="230540"/>
                      <a:pt x="876378" y="241213"/>
                    </a:cubicBezTo>
                    <a:cubicBezTo>
                      <a:pt x="876378" y="241213"/>
                      <a:pt x="876378" y="241213"/>
                      <a:pt x="582111" y="233386"/>
                    </a:cubicBezTo>
                    <a:cubicBezTo>
                      <a:pt x="584248" y="227694"/>
                      <a:pt x="584961" y="222001"/>
                      <a:pt x="584961" y="216309"/>
                    </a:cubicBezTo>
                    <a:cubicBezTo>
                      <a:pt x="584961" y="201367"/>
                      <a:pt x="579261" y="187136"/>
                      <a:pt x="570711" y="176463"/>
                    </a:cubicBezTo>
                    <a:cubicBezTo>
                      <a:pt x="570711" y="176463"/>
                      <a:pt x="570711" y="176463"/>
                      <a:pt x="894191" y="36289"/>
                    </a:cubicBezTo>
                    <a:lnTo>
                      <a:pt x="647662" y="31308"/>
                    </a:lnTo>
                    <a:cubicBezTo>
                      <a:pt x="649800" y="24192"/>
                      <a:pt x="651225" y="16365"/>
                      <a:pt x="651225" y="8538"/>
                    </a:cubicBezTo>
                    <a:cubicBezTo>
                      <a:pt x="651225" y="5692"/>
                      <a:pt x="651225" y="2846"/>
                      <a:pt x="65051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8" name="Freeform 27"/>
              <p:cNvSpPr>
                <a:spLocks noChangeArrowheads="1"/>
              </p:cNvSpPr>
              <p:nvPr/>
            </p:nvSpPr>
            <p:spPr bwMode="auto">
              <a:xfrm>
                <a:off x="5306394" y="2654914"/>
                <a:ext cx="1579208" cy="1548175"/>
              </a:xfrm>
              <a:custGeom>
                <a:avLst/>
                <a:gdLst>
                  <a:gd name="connsiteX0" fmla="*/ 790640 w 1579208"/>
                  <a:gd name="connsiteY0" fmla="*/ 1483535 h 1548175"/>
                  <a:gd name="connsiteX1" fmla="*/ 822960 w 1579208"/>
                  <a:gd name="connsiteY1" fmla="*/ 1515855 h 1548175"/>
                  <a:gd name="connsiteX2" fmla="*/ 790640 w 1579208"/>
                  <a:gd name="connsiteY2" fmla="*/ 1548175 h 1548175"/>
                  <a:gd name="connsiteX3" fmla="*/ 758320 w 1579208"/>
                  <a:gd name="connsiteY3" fmla="*/ 1515855 h 1548175"/>
                  <a:gd name="connsiteX4" fmla="*/ 790640 w 1579208"/>
                  <a:gd name="connsiteY4" fmla="*/ 1483535 h 1548175"/>
                  <a:gd name="connsiteX5" fmla="*/ 1295138 w 1579208"/>
                  <a:gd name="connsiteY5" fmla="*/ 1288043 h 1548175"/>
                  <a:gd name="connsiteX6" fmla="*/ 1327458 w 1579208"/>
                  <a:gd name="connsiteY6" fmla="*/ 1320363 h 1548175"/>
                  <a:gd name="connsiteX7" fmla="*/ 1295138 w 1579208"/>
                  <a:gd name="connsiteY7" fmla="*/ 1352683 h 1548175"/>
                  <a:gd name="connsiteX8" fmla="*/ 1262818 w 1579208"/>
                  <a:gd name="connsiteY8" fmla="*/ 1320363 h 1548175"/>
                  <a:gd name="connsiteX9" fmla="*/ 1295138 w 1579208"/>
                  <a:gd name="connsiteY9" fmla="*/ 1288043 h 1548175"/>
                  <a:gd name="connsiteX10" fmla="*/ 176574 w 1579208"/>
                  <a:gd name="connsiteY10" fmla="*/ 1168225 h 1548175"/>
                  <a:gd name="connsiteX11" fmla="*/ 231754 w 1579208"/>
                  <a:gd name="connsiteY11" fmla="*/ 1222616 h 1548175"/>
                  <a:gd name="connsiteX12" fmla="*/ 176574 w 1579208"/>
                  <a:gd name="connsiteY12" fmla="*/ 1277007 h 1548175"/>
                  <a:gd name="connsiteX13" fmla="*/ 121394 w 1579208"/>
                  <a:gd name="connsiteY13" fmla="*/ 1222616 h 1548175"/>
                  <a:gd name="connsiteX14" fmla="*/ 176574 w 1579208"/>
                  <a:gd name="connsiteY14" fmla="*/ 1168225 h 1548175"/>
                  <a:gd name="connsiteX15" fmla="*/ 758322 w 1579208"/>
                  <a:gd name="connsiteY15" fmla="*/ 1146153 h 1548175"/>
                  <a:gd name="connsiteX16" fmla="*/ 832420 w 1579208"/>
                  <a:gd name="connsiteY16" fmla="*/ 1220251 h 1548175"/>
                  <a:gd name="connsiteX17" fmla="*/ 758322 w 1579208"/>
                  <a:gd name="connsiteY17" fmla="*/ 1294349 h 1548175"/>
                  <a:gd name="connsiteX18" fmla="*/ 684224 w 1579208"/>
                  <a:gd name="connsiteY18" fmla="*/ 1220251 h 1548175"/>
                  <a:gd name="connsiteX19" fmla="*/ 758322 w 1579208"/>
                  <a:gd name="connsiteY19" fmla="*/ 1146153 h 1548175"/>
                  <a:gd name="connsiteX20" fmla="*/ 574654 w 1579208"/>
                  <a:gd name="connsiteY20" fmla="*/ 1103586 h 1548175"/>
                  <a:gd name="connsiteX21" fmla="*/ 606974 w 1579208"/>
                  <a:gd name="connsiteY21" fmla="*/ 1135906 h 1548175"/>
                  <a:gd name="connsiteX22" fmla="*/ 574654 w 1579208"/>
                  <a:gd name="connsiteY22" fmla="*/ 1168226 h 1548175"/>
                  <a:gd name="connsiteX23" fmla="*/ 542334 w 1579208"/>
                  <a:gd name="connsiteY23" fmla="*/ 1135906 h 1548175"/>
                  <a:gd name="connsiteX24" fmla="*/ 574654 w 1579208"/>
                  <a:gd name="connsiteY24" fmla="*/ 1103586 h 1548175"/>
                  <a:gd name="connsiteX25" fmla="*/ 1481171 w 1579208"/>
                  <a:gd name="connsiteY25" fmla="*/ 1057866 h 1548175"/>
                  <a:gd name="connsiteX26" fmla="*/ 1513491 w 1579208"/>
                  <a:gd name="connsiteY26" fmla="*/ 1090186 h 1548175"/>
                  <a:gd name="connsiteX27" fmla="*/ 1481171 w 1579208"/>
                  <a:gd name="connsiteY27" fmla="*/ 1122506 h 1548175"/>
                  <a:gd name="connsiteX28" fmla="*/ 1448851 w 1579208"/>
                  <a:gd name="connsiteY28" fmla="*/ 1090186 h 1548175"/>
                  <a:gd name="connsiteX29" fmla="*/ 1481171 w 1579208"/>
                  <a:gd name="connsiteY29" fmla="*/ 1057866 h 1548175"/>
                  <a:gd name="connsiteX30" fmla="*/ 1235519 w 1579208"/>
                  <a:gd name="connsiteY30" fmla="*/ 809523 h 1548175"/>
                  <a:gd name="connsiteX31" fmla="*/ 1290699 w 1579208"/>
                  <a:gd name="connsiteY31" fmla="*/ 864703 h 1548175"/>
                  <a:gd name="connsiteX32" fmla="*/ 1235519 w 1579208"/>
                  <a:gd name="connsiteY32" fmla="*/ 919883 h 1548175"/>
                  <a:gd name="connsiteX33" fmla="*/ 1180339 w 1579208"/>
                  <a:gd name="connsiteY33" fmla="*/ 864703 h 1548175"/>
                  <a:gd name="connsiteX34" fmla="*/ 1235519 w 1579208"/>
                  <a:gd name="connsiteY34" fmla="*/ 809523 h 1548175"/>
                  <a:gd name="connsiteX35" fmla="*/ 24437 w 1579208"/>
                  <a:gd name="connsiteY35" fmla="*/ 748862 h 1548175"/>
                  <a:gd name="connsiteX36" fmla="*/ 48874 w 1579208"/>
                  <a:gd name="connsiteY36" fmla="*/ 773299 h 1548175"/>
                  <a:gd name="connsiteX37" fmla="*/ 24437 w 1579208"/>
                  <a:gd name="connsiteY37" fmla="*/ 797736 h 1548175"/>
                  <a:gd name="connsiteX38" fmla="*/ 0 w 1579208"/>
                  <a:gd name="connsiteY38" fmla="*/ 773299 h 1548175"/>
                  <a:gd name="connsiteX39" fmla="*/ 24437 w 1579208"/>
                  <a:gd name="connsiteY39" fmla="*/ 748862 h 1548175"/>
                  <a:gd name="connsiteX40" fmla="*/ 1547677 w 1579208"/>
                  <a:gd name="connsiteY40" fmla="*/ 711777 h 1548175"/>
                  <a:gd name="connsiteX41" fmla="*/ 1579208 w 1579208"/>
                  <a:gd name="connsiteY41" fmla="*/ 744097 h 1548175"/>
                  <a:gd name="connsiteX42" fmla="*/ 1547677 w 1579208"/>
                  <a:gd name="connsiteY42" fmla="*/ 776417 h 1548175"/>
                  <a:gd name="connsiteX43" fmla="*/ 1516146 w 1579208"/>
                  <a:gd name="connsiteY43" fmla="*/ 744097 h 1548175"/>
                  <a:gd name="connsiteX44" fmla="*/ 1547677 w 1579208"/>
                  <a:gd name="connsiteY44" fmla="*/ 711777 h 1548175"/>
                  <a:gd name="connsiteX45" fmla="*/ 544699 w 1579208"/>
                  <a:gd name="connsiteY45" fmla="*/ 636927 h 1548175"/>
                  <a:gd name="connsiteX46" fmla="*/ 577019 w 1579208"/>
                  <a:gd name="connsiteY46" fmla="*/ 669247 h 1548175"/>
                  <a:gd name="connsiteX47" fmla="*/ 544699 w 1579208"/>
                  <a:gd name="connsiteY47" fmla="*/ 701567 h 1548175"/>
                  <a:gd name="connsiteX48" fmla="*/ 512379 w 1579208"/>
                  <a:gd name="connsiteY48" fmla="*/ 669247 h 1548175"/>
                  <a:gd name="connsiteX49" fmla="*/ 544699 w 1579208"/>
                  <a:gd name="connsiteY49" fmla="*/ 636927 h 1548175"/>
                  <a:gd name="connsiteX50" fmla="*/ 159232 w 1579208"/>
                  <a:gd name="connsiteY50" fmla="*/ 324770 h 1548175"/>
                  <a:gd name="connsiteX51" fmla="*/ 214412 w 1579208"/>
                  <a:gd name="connsiteY51" fmla="*/ 379950 h 1548175"/>
                  <a:gd name="connsiteX52" fmla="*/ 159232 w 1579208"/>
                  <a:gd name="connsiteY52" fmla="*/ 435130 h 1548175"/>
                  <a:gd name="connsiteX53" fmla="*/ 104052 w 1579208"/>
                  <a:gd name="connsiteY53" fmla="*/ 379950 h 1548175"/>
                  <a:gd name="connsiteX54" fmla="*/ 159232 w 1579208"/>
                  <a:gd name="connsiteY54" fmla="*/ 324770 h 1548175"/>
                  <a:gd name="connsiteX55" fmla="*/ 1391598 w 1579208"/>
                  <a:gd name="connsiteY55" fmla="*/ 256154 h 1548175"/>
                  <a:gd name="connsiteX56" fmla="*/ 1456237 w 1579208"/>
                  <a:gd name="connsiteY56" fmla="*/ 320793 h 1548175"/>
                  <a:gd name="connsiteX57" fmla="*/ 1391598 w 1579208"/>
                  <a:gd name="connsiteY57" fmla="*/ 385432 h 1548175"/>
                  <a:gd name="connsiteX58" fmla="*/ 1326959 w 1579208"/>
                  <a:gd name="connsiteY58" fmla="*/ 320793 h 1548175"/>
                  <a:gd name="connsiteX59" fmla="*/ 1391598 w 1579208"/>
                  <a:gd name="connsiteY59" fmla="*/ 256154 h 1548175"/>
                  <a:gd name="connsiteX60" fmla="*/ 990074 w 1579208"/>
                  <a:gd name="connsiteY60" fmla="*/ 212835 h 1548175"/>
                  <a:gd name="connsiteX61" fmla="*/ 1045254 w 1579208"/>
                  <a:gd name="connsiteY61" fmla="*/ 268015 h 1548175"/>
                  <a:gd name="connsiteX62" fmla="*/ 990074 w 1579208"/>
                  <a:gd name="connsiteY62" fmla="*/ 323195 h 1548175"/>
                  <a:gd name="connsiteX63" fmla="*/ 934894 w 1579208"/>
                  <a:gd name="connsiteY63" fmla="*/ 268015 h 1548175"/>
                  <a:gd name="connsiteX64" fmla="*/ 990074 w 1579208"/>
                  <a:gd name="connsiteY64" fmla="*/ 212835 h 1548175"/>
                  <a:gd name="connsiteX65" fmla="*/ 547852 w 1579208"/>
                  <a:gd name="connsiteY65" fmla="*/ 208105 h 1548175"/>
                  <a:gd name="connsiteX66" fmla="*/ 580172 w 1579208"/>
                  <a:gd name="connsiteY66" fmla="*/ 240425 h 1548175"/>
                  <a:gd name="connsiteX67" fmla="*/ 547852 w 1579208"/>
                  <a:gd name="connsiteY67" fmla="*/ 272745 h 1548175"/>
                  <a:gd name="connsiteX68" fmla="*/ 515532 w 1579208"/>
                  <a:gd name="connsiteY68" fmla="*/ 240425 h 1548175"/>
                  <a:gd name="connsiteX69" fmla="*/ 547852 w 1579208"/>
                  <a:gd name="connsiteY69" fmla="*/ 208105 h 1548175"/>
                  <a:gd name="connsiteX70" fmla="*/ 995592 w 1579208"/>
                  <a:gd name="connsiteY70" fmla="*/ 11037 h 1548175"/>
                  <a:gd name="connsiteX71" fmla="*/ 1027912 w 1579208"/>
                  <a:gd name="connsiteY71" fmla="*/ 42568 h 1548175"/>
                  <a:gd name="connsiteX72" fmla="*/ 995592 w 1579208"/>
                  <a:gd name="connsiteY72" fmla="*/ 74099 h 1548175"/>
                  <a:gd name="connsiteX73" fmla="*/ 963272 w 1579208"/>
                  <a:gd name="connsiteY73" fmla="*/ 42568 h 1548175"/>
                  <a:gd name="connsiteX74" fmla="*/ 995592 w 1579208"/>
                  <a:gd name="connsiteY74" fmla="*/ 11037 h 1548175"/>
                  <a:gd name="connsiteX75" fmla="*/ 614067 w 1579208"/>
                  <a:gd name="connsiteY75" fmla="*/ 0 h 1548175"/>
                  <a:gd name="connsiteX76" fmla="*/ 646387 w 1579208"/>
                  <a:gd name="connsiteY76" fmla="*/ 32320 h 1548175"/>
                  <a:gd name="connsiteX77" fmla="*/ 614067 w 1579208"/>
                  <a:gd name="connsiteY77" fmla="*/ 64640 h 1548175"/>
                  <a:gd name="connsiteX78" fmla="*/ 581747 w 1579208"/>
                  <a:gd name="connsiteY78" fmla="*/ 32320 h 1548175"/>
                  <a:gd name="connsiteX79" fmla="*/ 614067 w 1579208"/>
                  <a:gd name="connsiteY79" fmla="*/ 0 h 15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79208" h="1548175">
                    <a:moveTo>
                      <a:pt x="790640" y="1483535"/>
                    </a:moveTo>
                    <a:cubicBezTo>
                      <a:pt x="808490" y="1483535"/>
                      <a:pt x="822960" y="1498005"/>
                      <a:pt x="822960" y="1515855"/>
                    </a:cubicBezTo>
                    <a:cubicBezTo>
                      <a:pt x="822960" y="1533705"/>
                      <a:pt x="808490" y="1548175"/>
                      <a:pt x="790640" y="1548175"/>
                    </a:cubicBezTo>
                    <a:cubicBezTo>
                      <a:pt x="772790" y="1548175"/>
                      <a:pt x="758320" y="1533705"/>
                      <a:pt x="758320" y="1515855"/>
                    </a:cubicBezTo>
                    <a:cubicBezTo>
                      <a:pt x="758320" y="1498005"/>
                      <a:pt x="772790" y="1483535"/>
                      <a:pt x="790640" y="1483535"/>
                    </a:cubicBezTo>
                    <a:close/>
                    <a:moveTo>
                      <a:pt x="1295138" y="1288043"/>
                    </a:moveTo>
                    <a:cubicBezTo>
                      <a:pt x="1312988" y="1288043"/>
                      <a:pt x="1327458" y="1302513"/>
                      <a:pt x="1327458" y="1320363"/>
                    </a:cubicBezTo>
                    <a:cubicBezTo>
                      <a:pt x="1327458" y="1338213"/>
                      <a:pt x="1312988" y="1352683"/>
                      <a:pt x="1295138" y="1352683"/>
                    </a:cubicBezTo>
                    <a:cubicBezTo>
                      <a:pt x="1277288" y="1352683"/>
                      <a:pt x="1262818" y="1338213"/>
                      <a:pt x="1262818" y="1320363"/>
                    </a:cubicBezTo>
                    <a:cubicBezTo>
                      <a:pt x="1262818" y="1302513"/>
                      <a:pt x="1277288" y="1288043"/>
                      <a:pt x="1295138" y="1288043"/>
                    </a:cubicBezTo>
                    <a:close/>
                    <a:moveTo>
                      <a:pt x="176574" y="1168225"/>
                    </a:moveTo>
                    <a:cubicBezTo>
                      <a:pt x="207049" y="1168225"/>
                      <a:pt x="231754" y="1192577"/>
                      <a:pt x="231754" y="1222616"/>
                    </a:cubicBezTo>
                    <a:cubicBezTo>
                      <a:pt x="231754" y="1252655"/>
                      <a:pt x="207049" y="1277007"/>
                      <a:pt x="176574" y="1277007"/>
                    </a:cubicBezTo>
                    <a:cubicBezTo>
                      <a:pt x="146099" y="1277007"/>
                      <a:pt x="121394" y="1252655"/>
                      <a:pt x="121394" y="1222616"/>
                    </a:cubicBezTo>
                    <a:cubicBezTo>
                      <a:pt x="121394" y="1192577"/>
                      <a:pt x="146099" y="1168225"/>
                      <a:pt x="176574" y="1168225"/>
                    </a:cubicBezTo>
                    <a:close/>
                    <a:moveTo>
                      <a:pt x="758322" y="1146153"/>
                    </a:moveTo>
                    <a:cubicBezTo>
                      <a:pt x="799245" y="1146153"/>
                      <a:pt x="832420" y="1179328"/>
                      <a:pt x="832420" y="1220251"/>
                    </a:cubicBezTo>
                    <a:cubicBezTo>
                      <a:pt x="832420" y="1261174"/>
                      <a:pt x="799245" y="1294349"/>
                      <a:pt x="758322" y="1294349"/>
                    </a:cubicBezTo>
                    <a:cubicBezTo>
                      <a:pt x="717399" y="1294349"/>
                      <a:pt x="684224" y="1261174"/>
                      <a:pt x="684224" y="1220251"/>
                    </a:cubicBezTo>
                    <a:cubicBezTo>
                      <a:pt x="684224" y="1179328"/>
                      <a:pt x="717399" y="1146153"/>
                      <a:pt x="758322" y="1146153"/>
                    </a:cubicBezTo>
                    <a:close/>
                    <a:moveTo>
                      <a:pt x="574654" y="1103586"/>
                    </a:moveTo>
                    <a:cubicBezTo>
                      <a:pt x="592504" y="1103586"/>
                      <a:pt x="606974" y="1118056"/>
                      <a:pt x="606974" y="1135906"/>
                    </a:cubicBezTo>
                    <a:cubicBezTo>
                      <a:pt x="606974" y="1153756"/>
                      <a:pt x="592504" y="1168226"/>
                      <a:pt x="574654" y="1168226"/>
                    </a:cubicBezTo>
                    <a:cubicBezTo>
                      <a:pt x="556804" y="1168226"/>
                      <a:pt x="542334" y="1153756"/>
                      <a:pt x="542334" y="1135906"/>
                    </a:cubicBezTo>
                    <a:cubicBezTo>
                      <a:pt x="542334" y="1118056"/>
                      <a:pt x="556804" y="1103586"/>
                      <a:pt x="574654" y="1103586"/>
                    </a:cubicBezTo>
                    <a:close/>
                    <a:moveTo>
                      <a:pt x="1481171" y="1057866"/>
                    </a:moveTo>
                    <a:cubicBezTo>
                      <a:pt x="1499021" y="1057866"/>
                      <a:pt x="1513491" y="1072336"/>
                      <a:pt x="1513491" y="1090186"/>
                    </a:cubicBezTo>
                    <a:cubicBezTo>
                      <a:pt x="1513491" y="1108036"/>
                      <a:pt x="1499021" y="1122506"/>
                      <a:pt x="1481171" y="1122506"/>
                    </a:cubicBezTo>
                    <a:cubicBezTo>
                      <a:pt x="1463321" y="1122506"/>
                      <a:pt x="1448851" y="1108036"/>
                      <a:pt x="1448851" y="1090186"/>
                    </a:cubicBezTo>
                    <a:cubicBezTo>
                      <a:pt x="1448851" y="1072336"/>
                      <a:pt x="1463321" y="1057866"/>
                      <a:pt x="1481171" y="1057866"/>
                    </a:cubicBezTo>
                    <a:close/>
                    <a:moveTo>
                      <a:pt x="1235519" y="809523"/>
                    </a:moveTo>
                    <a:cubicBezTo>
                      <a:pt x="1265994" y="809523"/>
                      <a:pt x="1290699" y="834228"/>
                      <a:pt x="1290699" y="864703"/>
                    </a:cubicBezTo>
                    <a:cubicBezTo>
                      <a:pt x="1290699" y="895178"/>
                      <a:pt x="1265994" y="919883"/>
                      <a:pt x="1235519" y="919883"/>
                    </a:cubicBezTo>
                    <a:cubicBezTo>
                      <a:pt x="1205044" y="919883"/>
                      <a:pt x="1180339" y="895178"/>
                      <a:pt x="1180339" y="864703"/>
                    </a:cubicBezTo>
                    <a:cubicBezTo>
                      <a:pt x="1180339" y="834228"/>
                      <a:pt x="1205044" y="809523"/>
                      <a:pt x="1235519" y="809523"/>
                    </a:cubicBezTo>
                    <a:close/>
                    <a:moveTo>
                      <a:pt x="24437" y="748862"/>
                    </a:moveTo>
                    <a:cubicBezTo>
                      <a:pt x="37933" y="748862"/>
                      <a:pt x="48874" y="759803"/>
                      <a:pt x="48874" y="773299"/>
                    </a:cubicBezTo>
                    <a:cubicBezTo>
                      <a:pt x="48874" y="786795"/>
                      <a:pt x="37933" y="797736"/>
                      <a:pt x="24437" y="797736"/>
                    </a:cubicBezTo>
                    <a:cubicBezTo>
                      <a:pt x="10941" y="797736"/>
                      <a:pt x="0" y="786795"/>
                      <a:pt x="0" y="773299"/>
                    </a:cubicBezTo>
                    <a:cubicBezTo>
                      <a:pt x="0" y="759803"/>
                      <a:pt x="10941" y="748862"/>
                      <a:pt x="24437" y="748862"/>
                    </a:cubicBezTo>
                    <a:close/>
                    <a:moveTo>
                      <a:pt x="1547677" y="711777"/>
                    </a:moveTo>
                    <a:cubicBezTo>
                      <a:pt x="1565091" y="711777"/>
                      <a:pt x="1579208" y="726247"/>
                      <a:pt x="1579208" y="744097"/>
                    </a:cubicBezTo>
                    <a:cubicBezTo>
                      <a:pt x="1579208" y="761947"/>
                      <a:pt x="1565091" y="776417"/>
                      <a:pt x="1547677" y="776417"/>
                    </a:cubicBezTo>
                    <a:cubicBezTo>
                      <a:pt x="1530263" y="776417"/>
                      <a:pt x="1516146" y="761947"/>
                      <a:pt x="1516146" y="744097"/>
                    </a:cubicBezTo>
                    <a:cubicBezTo>
                      <a:pt x="1516146" y="726247"/>
                      <a:pt x="1530263" y="711777"/>
                      <a:pt x="1547677" y="711777"/>
                    </a:cubicBezTo>
                    <a:close/>
                    <a:moveTo>
                      <a:pt x="544699" y="636927"/>
                    </a:moveTo>
                    <a:cubicBezTo>
                      <a:pt x="562549" y="636927"/>
                      <a:pt x="577019" y="651397"/>
                      <a:pt x="577019" y="669247"/>
                    </a:cubicBezTo>
                    <a:cubicBezTo>
                      <a:pt x="577019" y="687097"/>
                      <a:pt x="562549" y="701567"/>
                      <a:pt x="544699" y="701567"/>
                    </a:cubicBezTo>
                    <a:cubicBezTo>
                      <a:pt x="526849" y="701567"/>
                      <a:pt x="512379" y="687097"/>
                      <a:pt x="512379" y="669247"/>
                    </a:cubicBezTo>
                    <a:cubicBezTo>
                      <a:pt x="512379" y="651397"/>
                      <a:pt x="526849" y="636927"/>
                      <a:pt x="544699" y="636927"/>
                    </a:cubicBezTo>
                    <a:close/>
                    <a:moveTo>
                      <a:pt x="159232" y="324770"/>
                    </a:moveTo>
                    <a:cubicBezTo>
                      <a:pt x="189707" y="324770"/>
                      <a:pt x="214412" y="349475"/>
                      <a:pt x="214412" y="379950"/>
                    </a:cubicBezTo>
                    <a:cubicBezTo>
                      <a:pt x="214412" y="410425"/>
                      <a:pt x="189707" y="435130"/>
                      <a:pt x="159232" y="435130"/>
                    </a:cubicBezTo>
                    <a:cubicBezTo>
                      <a:pt x="128757" y="435130"/>
                      <a:pt x="104052" y="410425"/>
                      <a:pt x="104052" y="379950"/>
                    </a:cubicBezTo>
                    <a:cubicBezTo>
                      <a:pt x="104052" y="349475"/>
                      <a:pt x="128757" y="324770"/>
                      <a:pt x="159232" y="324770"/>
                    </a:cubicBezTo>
                    <a:close/>
                    <a:moveTo>
                      <a:pt x="1391598" y="256154"/>
                    </a:moveTo>
                    <a:cubicBezTo>
                      <a:pt x="1427297" y="256154"/>
                      <a:pt x="1456237" y="285094"/>
                      <a:pt x="1456237" y="320793"/>
                    </a:cubicBezTo>
                    <a:cubicBezTo>
                      <a:pt x="1456237" y="356492"/>
                      <a:pt x="1427297" y="385432"/>
                      <a:pt x="1391598" y="385432"/>
                    </a:cubicBezTo>
                    <a:cubicBezTo>
                      <a:pt x="1355899" y="385432"/>
                      <a:pt x="1326959" y="356492"/>
                      <a:pt x="1326959" y="320793"/>
                    </a:cubicBezTo>
                    <a:cubicBezTo>
                      <a:pt x="1326959" y="285094"/>
                      <a:pt x="1355899" y="256154"/>
                      <a:pt x="1391598" y="256154"/>
                    </a:cubicBezTo>
                    <a:close/>
                    <a:moveTo>
                      <a:pt x="990074" y="212835"/>
                    </a:moveTo>
                    <a:cubicBezTo>
                      <a:pt x="1020549" y="212835"/>
                      <a:pt x="1045254" y="237540"/>
                      <a:pt x="1045254" y="268015"/>
                    </a:cubicBezTo>
                    <a:cubicBezTo>
                      <a:pt x="1045254" y="298490"/>
                      <a:pt x="1020549" y="323195"/>
                      <a:pt x="990074" y="323195"/>
                    </a:cubicBezTo>
                    <a:cubicBezTo>
                      <a:pt x="959599" y="323195"/>
                      <a:pt x="934894" y="298490"/>
                      <a:pt x="934894" y="268015"/>
                    </a:cubicBezTo>
                    <a:cubicBezTo>
                      <a:pt x="934894" y="237540"/>
                      <a:pt x="959599" y="212835"/>
                      <a:pt x="990074" y="212835"/>
                    </a:cubicBezTo>
                    <a:close/>
                    <a:moveTo>
                      <a:pt x="547852" y="208105"/>
                    </a:moveTo>
                    <a:cubicBezTo>
                      <a:pt x="565702" y="208105"/>
                      <a:pt x="580172" y="222575"/>
                      <a:pt x="580172" y="240425"/>
                    </a:cubicBezTo>
                    <a:cubicBezTo>
                      <a:pt x="580172" y="258275"/>
                      <a:pt x="565702" y="272745"/>
                      <a:pt x="547852" y="272745"/>
                    </a:cubicBezTo>
                    <a:cubicBezTo>
                      <a:pt x="530002" y="272745"/>
                      <a:pt x="515532" y="258275"/>
                      <a:pt x="515532" y="240425"/>
                    </a:cubicBezTo>
                    <a:cubicBezTo>
                      <a:pt x="515532" y="222575"/>
                      <a:pt x="530002" y="208105"/>
                      <a:pt x="547852" y="208105"/>
                    </a:cubicBezTo>
                    <a:close/>
                    <a:moveTo>
                      <a:pt x="995592" y="11037"/>
                    </a:moveTo>
                    <a:cubicBezTo>
                      <a:pt x="1013442" y="11037"/>
                      <a:pt x="1027912" y="25154"/>
                      <a:pt x="1027912" y="42568"/>
                    </a:cubicBezTo>
                    <a:cubicBezTo>
                      <a:pt x="1027912" y="59982"/>
                      <a:pt x="1013442" y="74099"/>
                      <a:pt x="995592" y="74099"/>
                    </a:cubicBezTo>
                    <a:cubicBezTo>
                      <a:pt x="977742" y="74099"/>
                      <a:pt x="963272" y="59982"/>
                      <a:pt x="963272" y="42568"/>
                    </a:cubicBezTo>
                    <a:cubicBezTo>
                      <a:pt x="963272" y="25154"/>
                      <a:pt x="977742" y="11037"/>
                      <a:pt x="995592" y="11037"/>
                    </a:cubicBezTo>
                    <a:close/>
                    <a:moveTo>
                      <a:pt x="614067" y="0"/>
                    </a:moveTo>
                    <a:cubicBezTo>
                      <a:pt x="631917" y="0"/>
                      <a:pt x="646387" y="14470"/>
                      <a:pt x="646387" y="32320"/>
                    </a:cubicBezTo>
                    <a:cubicBezTo>
                      <a:pt x="646387" y="50170"/>
                      <a:pt x="631917" y="64640"/>
                      <a:pt x="614067" y="64640"/>
                    </a:cubicBezTo>
                    <a:cubicBezTo>
                      <a:pt x="596217" y="64640"/>
                      <a:pt x="581747" y="50170"/>
                      <a:pt x="581747" y="32320"/>
                    </a:cubicBezTo>
                    <a:cubicBezTo>
                      <a:pt x="581747" y="14470"/>
                      <a:pt x="596217" y="0"/>
                      <a:pt x="614067" y="0"/>
                    </a:cubicBezTo>
                    <a:close/>
                  </a:path>
                </a:pathLst>
              </a:custGeom>
              <a:solidFill>
                <a:schemeClr val="tx2"/>
              </a:solidFill>
              <a:ln>
                <a:noFill/>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6" name="Group 5"/>
          <p:cNvGrpSpPr>
            <a:grpSpLocks noChangeAspect="1"/>
          </p:cNvGrpSpPr>
          <p:nvPr/>
        </p:nvGrpSpPr>
        <p:grpSpPr>
          <a:xfrm>
            <a:off x="630000" y="1542666"/>
            <a:ext cx="1118080" cy="1117003"/>
            <a:chOff x="5272088" y="2514600"/>
            <a:chExt cx="1647825" cy="1646238"/>
          </a:xfrm>
        </p:grpSpPr>
        <p:sp>
          <p:nvSpPr>
            <p:cNvPr id="7" name="AutoShape 3"/>
            <p:cNvSpPr>
              <a:spLocks noChangeAspect="1" noChangeArrowheads="1" noTextEdit="1"/>
            </p:cNvSpPr>
            <p:nvPr/>
          </p:nvSpPr>
          <p:spPr bwMode="auto">
            <a:xfrm>
              <a:off x="5272088" y="2514600"/>
              <a:ext cx="1647825"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 name="Group 7"/>
            <p:cNvGrpSpPr/>
            <p:nvPr/>
          </p:nvGrpSpPr>
          <p:grpSpPr>
            <a:xfrm>
              <a:off x="5441951" y="2841625"/>
              <a:ext cx="1308100" cy="995363"/>
              <a:chOff x="5441951" y="2841625"/>
              <a:chExt cx="1308100" cy="995363"/>
            </a:xfrm>
          </p:grpSpPr>
          <p:sp>
            <p:nvSpPr>
              <p:cNvPr id="9" name="Freeform 8"/>
              <p:cNvSpPr>
                <a:spLocks noEditPoints="1"/>
              </p:cNvSpPr>
              <p:nvPr/>
            </p:nvSpPr>
            <p:spPr bwMode="auto">
              <a:xfrm>
                <a:off x="5441951" y="2841625"/>
                <a:ext cx="1308100" cy="995363"/>
              </a:xfrm>
              <a:custGeom>
                <a:avLst/>
                <a:gdLst>
                  <a:gd name="T0" fmla="*/ 23 w 1829"/>
                  <a:gd name="T1" fmla="*/ 0 h 1393"/>
                  <a:gd name="T2" fmla="*/ 1 w 1829"/>
                  <a:gd name="T3" fmla="*/ 127 h 1393"/>
                  <a:gd name="T4" fmla="*/ 0 w 1829"/>
                  <a:gd name="T5" fmla="*/ 1349 h 1393"/>
                  <a:gd name="T6" fmla="*/ 587 w 1829"/>
                  <a:gd name="T7" fmla="*/ 1393 h 1393"/>
                  <a:gd name="T8" fmla="*/ 631 w 1829"/>
                  <a:gd name="T9" fmla="*/ 1393 h 1393"/>
                  <a:gd name="T10" fmla="*/ 1197 w 1829"/>
                  <a:gd name="T11" fmla="*/ 1393 h 1393"/>
                  <a:gd name="T12" fmla="*/ 1241 w 1829"/>
                  <a:gd name="T13" fmla="*/ 1393 h 1393"/>
                  <a:gd name="T14" fmla="*/ 1785 w 1829"/>
                  <a:gd name="T15" fmla="*/ 1393 h 1393"/>
                  <a:gd name="T16" fmla="*/ 1828 w 1829"/>
                  <a:gd name="T17" fmla="*/ 365 h 1393"/>
                  <a:gd name="T18" fmla="*/ 1829 w 1829"/>
                  <a:gd name="T19" fmla="*/ 22 h 1393"/>
                  <a:gd name="T20" fmla="*/ 1785 w 1829"/>
                  <a:gd name="T21" fmla="*/ 603 h 1393"/>
                  <a:gd name="T22" fmla="*/ 1241 w 1829"/>
                  <a:gd name="T23" fmla="*/ 381 h 1393"/>
                  <a:gd name="T24" fmla="*/ 1785 w 1829"/>
                  <a:gd name="T25" fmla="*/ 603 h 1393"/>
                  <a:gd name="T26" fmla="*/ 1241 w 1829"/>
                  <a:gd name="T27" fmla="*/ 844 h 1393"/>
                  <a:gd name="T28" fmla="*/ 1785 w 1829"/>
                  <a:gd name="T29" fmla="*/ 647 h 1393"/>
                  <a:gd name="T30" fmla="*/ 1785 w 1829"/>
                  <a:gd name="T31" fmla="*/ 1086 h 1393"/>
                  <a:gd name="T32" fmla="*/ 1241 w 1829"/>
                  <a:gd name="T33" fmla="*/ 888 h 1393"/>
                  <a:gd name="T34" fmla="*/ 1785 w 1829"/>
                  <a:gd name="T35" fmla="*/ 1086 h 1393"/>
                  <a:gd name="T36" fmla="*/ 631 w 1829"/>
                  <a:gd name="T37" fmla="*/ 603 h 1393"/>
                  <a:gd name="T38" fmla="*/ 1197 w 1829"/>
                  <a:gd name="T39" fmla="*/ 381 h 1393"/>
                  <a:gd name="T40" fmla="*/ 1197 w 1829"/>
                  <a:gd name="T41" fmla="*/ 844 h 1393"/>
                  <a:gd name="T42" fmla="*/ 631 w 1829"/>
                  <a:gd name="T43" fmla="*/ 647 h 1393"/>
                  <a:gd name="T44" fmla="*/ 1197 w 1829"/>
                  <a:gd name="T45" fmla="*/ 844 h 1393"/>
                  <a:gd name="T46" fmla="*/ 587 w 1829"/>
                  <a:gd name="T47" fmla="*/ 647 h 1393"/>
                  <a:gd name="T48" fmla="*/ 43 w 1829"/>
                  <a:gd name="T49" fmla="*/ 844 h 1393"/>
                  <a:gd name="T50" fmla="*/ 587 w 1829"/>
                  <a:gd name="T51" fmla="*/ 603 h 1393"/>
                  <a:gd name="T52" fmla="*/ 43 w 1829"/>
                  <a:gd name="T53" fmla="*/ 381 h 1393"/>
                  <a:gd name="T54" fmla="*/ 587 w 1829"/>
                  <a:gd name="T55" fmla="*/ 603 h 1393"/>
                  <a:gd name="T56" fmla="*/ 587 w 1829"/>
                  <a:gd name="T57" fmla="*/ 888 h 1393"/>
                  <a:gd name="T58" fmla="*/ 43 w 1829"/>
                  <a:gd name="T59" fmla="*/ 1086 h 1393"/>
                  <a:gd name="T60" fmla="*/ 631 w 1829"/>
                  <a:gd name="T61" fmla="*/ 888 h 1393"/>
                  <a:gd name="T62" fmla="*/ 1197 w 1829"/>
                  <a:gd name="T63" fmla="*/ 1086 h 1393"/>
                  <a:gd name="T64" fmla="*/ 631 w 1829"/>
                  <a:gd name="T65" fmla="*/ 888 h 1393"/>
                  <a:gd name="T66" fmla="*/ 587 w 1829"/>
                  <a:gd name="T67" fmla="*/ 44 h 1393"/>
                  <a:gd name="T68" fmla="*/ 631 w 1829"/>
                  <a:gd name="T69" fmla="*/ 44 h 1393"/>
                  <a:gd name="T70" fmla="*/ 1197 w 1829"/>
                  <a:gd name="T71" fmla="*/ 44 h 1393"/>
                  <a:gd name="T72" fmla="*/ 1241 w 1829"/>
                  <a:gd name="T73" fmla="*/ 44 h 1393"/>
                  <a:gd name="T74" fmla="*/ 1785 w 1829"/>
                  <a:gd name="T75" fmla="*/ 44 h 1393"/>
                  <a:gd name="T76" fmla="*/ 1241 w 1829"/>
                  <a:gd name="T77" fmla="*/ 337 h 1393"/>
                  <a:gd name="T78" fmla="*/ 631 w 1829"/>
                  <a:gd name="T79" fmla="*/ 337 h 1393"/>
                  <a:gd name="T80" fmla="*/ 45 w 1829"/>
                  <a:gd name="T81" fmla="*/ 337 h 1393"/>
                  <a:gd name="T82" fmla="*/ 43 w 1829"/>
                  <a:gd name="T83" fmla="*/ 1349 h 1393"/>
                  <a:gd name="T84" fmla="*/ 587 w 1829"/>
                  <a:gd name="T85" fmla="*/ 1130 h 1393"/>
                  <a:gd name="T86" fmla="*/ 43 w 1829"/>
                  <a:gd name="T87" fmla="*/ 1349 h 1393"/>
                  <a:gd name="T88" fmla="*/ 631 w 1829"/>
                  <a:gd name="T89" fmla="*/ 1130 h 1393"/>
                  <a:gd name="T90" fmla="*/ 1197 w 1829"/>
                  <a:gd name="T91" fmla="*/ 1349 h 1393"/>
                  <a:gd name="T92" fmla="*/ 1785 w 1829"/>
                  <a:gd name="T93" fmla="*/ 1349 h 1393"/>
                  <a:gd name="T94" fmla="*/ 1241 w 1829"/>
                  <a:gd name="T95" fmla="*/ 1130 h 1393"/>
                  <a:gd name="T96" fmla="*/ 1785 w 1829"/>
                  <a:gd name="T97" fmla="*/ 1349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29" h="1393">
                    <a:moveTo>
                      <a:pt x="1807" y="0"/>
                    </a:moveTo>
                    <a:cubicBezTo>
                      <a:pt x="23" y="0"/>
                      <a:pt x="23" y="0"/>
                      <a:pt x="23" y="0"/>
                    </a:cubicBezTo>
                    <a:cubicBezTo>
                      <a:pt x="11" y="0"/>
                      <a:pt x="1" y="9"/>
                      <a:pt x="1" y="22"/>
                    </a:cubicBezTo>
                    <a:cubicBezTo>
                      <a:pt x="1" y="127"/>
                      <a:pt x="1" y="127"/>
                      <a:pt x="1" y="127"/>
                    </a:cubicBezTo>
                    <a:cubicBezTo>
                      <a:pt x="0" y="130"/>
                      <a:pt x="0" y="132"/>
                      <a:pt x="0" y="134"/>
                    </a:cubicBezTo>
                    <a:cubicBezTo>
                      <a:pt x="0" y="134"/>
                      <a:pt x="0" y="285"/>
                      <a:pt x="0" y="1349"/>
                    </a:cubicBezTo>
                    <a:cubicBezTo>
                      <a:pt x="0" y="1373"/>
                      <a:pt x="19" y="1393"/>
                      <a:pt x="43" y="1393"/>
                    </a:cubicBezTo>
                    <a:cubicBezTo>
                      <a:pt x="43" y="1393"/>
                      <a:pt x="43" y="1393"/>
                      <a:pt x="587" y="1393"/>
                    </a:cubicBezTo>
                    <a:cubicBezTo>
                      <a:pt x="587" y="1393"/>
                      <a:pt x="587" y="1393"/>
                      <a:pt x="587" y="1393"/>
                    </a:cubicBezTo>
                    <a:cubicBezTo>
                      <a:pt x="631" y="1393"/>
                      <a:pt x="631" y="1393"/>
                      <a:pt x="631" y="1393"/>
                    </a:cubicBezTo>
                    <a:cubicBezTo>
                      <a:pt x="631" y="1393"/>
                      <a:pt x="631" y="1393"/>
                      <a:pt x="631" y="1393"/>
                    </a:cubicBezTo>
                    <a:cubicBezTo>
                      <a:pt x="779" y="1393"/>
                      <a:pt x="965" y="1393"/>
                      <a:pt x="1197" y="1393"/>
                    </a:cubicBezTo>
                    <a:cubicBezTo>
                      <a:pt x="1197" y="1393"/>
                      <a:pt x="1197" y="1393"/>
                      <a:pt x="1197" y="1393"/>
                    </a:cubicBezTo>
                    <a:cubicBezTo>
                      <a:pt x="1241" y="1393"/>
                      <a:pt x="1241" y="1393"/>
                      <a:pt x="1241" y="1393"/>
                    </a:cubicBezTo>
                    <a:cubicBezTo>
                      <a:pt x="1241" y="1393"/>
                      <a:pt x="1241" y="1393"/>
                      <a:pt x="1241" y="1393"/>
                    </a:cubicBezTo>
                    <a:cubicBezTo>
                      <a:pt x="1400" y="1393"/>
                      <a:pt x="1581" y="1393"/>
                      <a:pt x="1785" y="1393"/>
                    </a:cubicBezTo>
                    <a:cubicBezTo>
                      <a:pt x="1809" y="1393"/>
                      <a:pt x="1828" y="1373"/>
                      <a:pt x="1828" y="1349"/>
                    </a:cubicBezTo>
                    <a:cubicBezTo>
                      <a:pt x="1828" y="1349"/>
                      <a:pt x="1828" y="1220"/>
                      <a:pt x="1828" y="365"/>
                    </a:cubicBezTo>
                    <a:cubicBezTo>
                      <a:pt x="1829" y="363"/>
                      <a:pt x="1829" y="361"/>
                      <a:pt x="1829" y="359"/>
                    </a:cubicBezTo>
                    <a:cubicBezTo>
                      <a:pt x="1829" y="22"/>
                      <a:pt x="1829" y="22"/>
                      <a:pt x="1829" y="22"/>
                    </a:cubicBezTo>
                    <a:cubicBezTo>
                      <a:pt x="1829" y="9"/>
                      <a:pt x="1819" y="0"/>
                      <a:pt x="1807" y="0"/>
                    </a:cubicBezTo>
                    <a:close/>
                    <a:moveTo>
                      <a:pt x="1785" y="603"/>
                    </a:moveTo>
                    <a:cubicBezTo>
                      <a:pt x="1241" y="603"/>
                      <a:pt x="1241" y="603"/>
                      <a:pt x="1241" y="603"/>
                    </a:cubicBezTo>
                    <a:cubicBezTo>
                      <a:pt x="1241" y="381"/>
                      <a:pt x="1241" y="381"/>
                      <a:pt x="1241" y="381"/>
                    </a:cubicBezTo>
                    <a:cubicBezTo>
                      <a:pt x="1785" y="381"/>
                      <a:pt x="1785" y="381"/>
                      <a:pt x="1785" y="381"/>
                    </a:cubicBezTo>
                    <a:cubicBezTo>
                      <a:pt x="1785" y="440"/>
                      <a:pt x="1785" y="513"/>
                      <a:pt x="1785" y="603"/>
                    </a:cubicBezTo>
                    <a:close/>
                    <a:moveTo>
                      <a:pt x="1785" y="844"/>
                    </a:moveTo>
                    <a:cubicBezTo>
                      <a:pt x="1241" y="844"/>
                      <a:pt x="1241" y="844"/>
                      <a:pt x="1241" y="844"/>
                    </a:cubicBezTo>
                    <a:cubicBezTo>
                      <a:pt x="1241" y="647"/>
                      <a:pt x="1241" y="647"/>
                      <a:pt x="1241" y="647"/>
                    </a:cubicBezTo>
                    <a:cubicBezTo>
                      <a:pt x="1785" y="647"/>
                      <a:pt x="1785" y="647"/>
                      <a:pt x="1785" y="647"/>
                    </a:cubicBezTo>
                    <a:cubicBezTo>
                      <a:pt x="1785" y="706"/>
                      <a:pt x="1785" y="771"/>
                      <a:pt x="1785" y="844"/>
                    </a:cubicBezTo>
                    <a:close/>
                    <a:moveTo>
                      <a:pt x="1785" y="1086"/>
                    </a:moveTo>
                    <a:cubicBezTo>
                      <a:pt x="1241" y="1086"/>
                      <a:pt x="1241" y="1086"/>
                      <a:pt x="1241" y="1086"/>
                    </a:cubicBezTo>
                    <a:cubicBezTo>
                      <a:pt x="1241" y="888"/>
                      <a:pt x="1241" y="888"/>
                      <a:pt x="1241" y="888"/>
                    </a:cubicBezTo>
                    <a:cubicBezTo>
                      <a:pt x="1785" y="888"/>
                      <a:pt x="1785" y="888"/>
                      <a:pt x="1785" y="888"/>
                    </a:cubicBezTo>
                    <a:cubicBezTo>
                      <a:pt x="1785" y="949"/>
                      <a:pt x="1785" y="1015"/>
                      <a:pt x="1785" y="1086"/>
                    </a:cubicBezTo>
                    <a:close/>
                    <a:moveTo>
                      <a:pt x="1197" y="603"/>
                    </a:moveTo>
                    <a:cubicBezTo>
                      <a:pt x="631" y="603"/>
                      <a:pt x="631" y="603"/>
                      <a:pt x="631" y="603"/>
                    </a:cubicBezTo>
                    <a:cubicBezTo>
                      <a:pt x="631" y="381"/>
                      <a:pt x="631" y="381"/>
                      <a:pt x="631" y="381"/>
                    </a:cubicBezTo>
                    <a:cubicBezTo>
                      <a:pt x="1197" y="381"/>
                      <a:pt x="1197" y="381"/>
                      <a:pt x="1197" y="381"/>
                    </a:cubicBezTo>
                    <a:lnTo>
                      <a:pt x="1197" y="603"/>
                    </a:lnTo>
                    <a:close/>
                    <a:moveTo>
                      <a:pt x="1197" y="844"/>
                    </a:moveTo>
                    <a:cubicBezTo>
                      <a:pt x="631" y="844"/>
                      <a:pt x="631" y="844"/>
                      <a:pt x="631" y="844"/>
                    </a:cubicBezTo>
                    <a:cubicBezTo>
                      <a:pt x="631" y="647"/>
                      <a:pt x="631" y="647"/>
                      <a:pt x="631" y="647"/>
                    </a:cubicBezTo>
                    <a:cubicBezTo>
                      <a:pt x="1197" y="647"/>
                      <a:pt x="1197" y="647"/>
                      <a:pt x="1197" y="647"/>
                    </a:cubicBezTo>
                    <a:lnTo>
                      <a:pt x="1197" y="844"/>
                    </a:lnTo>
                    <a:close/>
                    <a:moveTo>
                      <a:pt x="43" y="647"/>
                    </a:moveTo>
                    <a:cubicBezTo>
                      <a:pt x="587" y="647"/>
                      <a:pt x="587" y="647"/>
                      <a:pt x="587" y="647"/>
                    </a:cubicBezTo>
                    <a:cubicBezTo>
                      <a:pt x="587" y="844"/>
                      <a:pt x="587" y="844"/>
                      <a:pt x="587" y="844"/>
                    </a:cubicBezTo>
                    <a:cubicBezTo>
                      <a:pt x="43" y="844"/>
                      <a:pt x="43" y="844"/>
                      <a:pt x="43" y="844"/>
                    </a:cubicBezTo>
                    <a:cubicBezTo>
                      <a:pt x="43" y="785"/>
                      <a:pt x="43" y="719"/>
                      <a:pt x="43" y="647"/>
                    </a:cubicBezTo>
                    <a:close/>
                    <a:moveTo>
                      <a:pt x="587" y="603"/>
                    </a:moveTo>
                    <a:cubicBezTo>
                      <a:pt x="43" y="603"/>
                      <a:pt x="43" y="603"/>
                      <a:pt x="43" y="603"/>
                    </a:cubicBezTo>
                    <a:cubicBezTo>
                      <a:pt x="43" y="535"/>
                      <a:pt x="43" y="461"/>
                      <a:pt x="43" y="381"/>
                    </a:cubicBezTo>
                    <a:cubicBezTo>
                      <a:pt x="587" y="381"/>
                      <a:pt x="587" y="381"/>
                      <a:pt x="587" y="381"/>
                    </a:cubicBezTo>
                    <a:lnTo>
                      <a:pt x="587" y="603"/>
                    </a:lnTo>
                    <a:close/>
                    <a:moveTo>
                      <a:pt x="43" y="888"/>
                    </a:moveTo>
                    <a:cubicBezTo>
                      <a:pt x="587" y="888"/>
                      <a:pt x="587" y="888"/>
                      <a:pt x="587" y="888"/>
                    </a:cubicBezTo>
                    <a:cubicBezTo>
                      <a:pt x="587" y="1086"/>
                      <a:pt x="587" y="1086"/>
                      <a:pt x="587" y="1086"/>
                    </a:cubicBezTo>
                    <a:cubicBezTo>
                      <a:pt x="43" y="1086"/>
                      <a:pt x="43" y="1086"/>
                      <a:pt x="43" y="1086"/>
                    </a:cubicBezTo>
                    <a:cubicBezTo>
                      <a:pt x="43" y="1031"/>
                      <a:pt x="43" y="966"/>
                      <a:pt x="43" y="888"/>
                    </a:cubicBezTo>
                    <a:close/>
                    <a:moveTo>
                      <a:pt x="631" y="888"/>
                    </a:moveTo>
                    <a:cubicBezTo>
                      <a:pt x="1197" y="888"/>
                      <a:pt x="1197" y="888"/>
                      <a:pt x="1197" y="888"/>
                    </a:cubicBezTo>
                    <a:cubicBezTo>
                      <a:pt x="1197" y="1086"/>
                      <a:pt x="1197" y="1086"/>
                      <a:pt x="1197" y="1086"/>
                    </a:cubicBezTo>
                    <a:cubicBezTo>
                      <a:pt x="631" y="1086"/>
                      <a:pt x="631" y="1086"/>
                      <a:pt x="631" y="1086"/>
                    </a:cubicBezTo>
                    <a:lnTo>
                      <a:pt x="631" y="888"/>
                    </a:lnTo>
                    <a:close/>
                    <a:moveTo>
                      <a:pt x="45" y="44"/>
                    </a:moveTo>
                    <a:cubicBezTo>
                      <a:pt x="587" y="44"/>
                      <a:pt x="587" y="44"/>
                      <a:pt x="587" y="44"/>
                    </a:cubicBezTo>
                    <a:cubicBezTo>
                      <a:pt x="587" y="44"/>
                      <a:pt x="587" y="44"/>
                      <a:pt x="587" y="44"/>
                    </a:cubicBezTo>
                    <a:cubicBezTo>
                      <a:pt x="631" y="44"/>
                      <a:pt x="631" y="44"/>
                      <a:pt x="631" y="44"/>
                    </a:cubicBezTo>
                    <a:cubicBezTo>
                      <a:pt x="631" y="44"/>
                      <a:pt x="631" y="44"/>
                      <a:pt x="631" y="44"/>
                    </a:cubicBezTo>
                    <a:cubicBezTo>
                      <a:pt x="1197" y="44"/>
                      <a:pt x="1197" y="44"/>
                      <a:pt x="1197" y="44"/>
                    </a:cubicBezTo>
                    <a:cubicBezTo>
                      <a:pt x="1197" y="44"/>
                      <a:pt x="1197" y="44"/>
                      <a:pt x="1197" y="44"/>
                    </a:cubicBezTo>
                    <a:cubicBezTo>
                      <a:pt x="1241" y="44"/>
                      <a:pt x="1241" y="44"/>
                      <a:pt x="1241" y="44"/>
                    </a:cubicBezTo>
                    <a:cubicBezTo>
                      <a:pt x="1241" y="44"/>
                      <a:pt x="1241" y="44"/>
                      <a:pt x="1241" y="44"/>
                    </a:cubicBezTo>
                    <a:cubicBezTo>
                      <a:pt x="1785" y="44"/>
                      <a:pt x="1785" y="44"/>
                      <a:pt x="1785" y="44"/>
                    </a:cubicBezTo>
                    <a:cubicBezTo>
                      <a:pt x="1785" y="337"/>
                      <a:pt x="1785" y="337"/>
                      <a:pt x="1785" y="337"/>
                    </a:cubicBezTo>
                    <a:cubicBezTo>
                      <a:pt x="1241" y="337"/>
                      <a:pt x="1241" y="337"/>
                      <a:pt x="1241" y="337"/>
                    </a:cubicBezTo>
                    <a:cubicBezTo>
                      <a:pt x="1197" y="337"/>
                      <a:pt x="1197" y="337"/>
                      <a:pt x="1197" y="337"/>
                    </a:cubicBezTo>
                    <a:cubicBezTo>
                      <a:pt x="631" y="337"/>
                      <a:pt x="631" y="337"/>
                      <a:pt x="631" y="337"/>
                    </a:cubicBezTo>
                    <a:cubicBezTo>
                      <a:pt x="587" y="337"/>
                      <a:pt x="587" y="337"/>
                      <a:pt x="587" y="337"/>
                    </a:cubicBezTo>
                    <a:cubicBezTo>
                      <a:pt x="45" y="337"/>
                      <a:pt x="45" y="337"/>
                      <a:pt x="45" y="337"/>
                    </a:cubicBezTo>
                    <a:lnTo>
                      <a:pt x="45" y="44"/>
                    </a:lnTo>
                    <a:close/>
                    <a:moveTo>
                      <a:pt x="43" y="1349"/>
                    </a:moveTo>
                    <a:cubicBezTo>
                      <a:pt x="43" y="1349"/>
                      <a:pt x="43" y="1309"/>
                      <a:pt x="43" y="1130"/>
                    </a:cubicBezTo>
                    <a:cubicBezTo>
                      <a:pt x="587" y="1130"/>
                      <a:pt x="587" y="1130"/>
                      <a:pt x="587" y="1130"/>
                    </a:cubicBezTo>
                    <a:cubicBezTo>
                      <a:pt x="587" y="1349"/>
                      <a:pt x="587" y="1349"/>
                      <a:pt x="587" y="1349"/>
                    </a:cubicBezTo>
                    <a:cubicBezTo>
                      <a:pt x="428" y="1349"/>
                      <a:pt x="247" y="1349"/>
                      <a:pt x="43" y="1349"/>
                    </a:cubicBezTo>
                    <a:close/>
                    <a:moveTo>
                      <a:pt x="631" y="1349"/>
                    </a:moveTo>
                    <a:cubicBezTo>
                      <a:pt x="631" y="1130"/>
                      <a:pt x="631" y="1130"/>
                      <a:pt x="631" y="1130"/>
                    </a:cubicBezTo>
                    <a:cubicBezTo>
                      <a:pt x="1197" y="1130"/>
                      <a:pt x="1197" y="1130"/>
                      <a:pt x="1197" y="1130"/>
                    </a:cubicBezTo>
                    <a:cubicBezTo>
                      <a:pt x="1197" y="1349"/>
                      <a:pt x="1197" y="1349"/>
                      <a:pt x="1197" y="1349"/>
                    </a:cubicBezTo>
                    <a:cubicBezTo>
                      <a:pt x="1049" y="1349"/>
                      <a:pt x="863" y="1349"/>
                      <a:pt x="631" y="1349"/>
                    </a:cubicBezTo>
                    <a:close/>
                    <a:moveTo>
                      <a:pt x="1785" y="1349"/>
                    </a:moveTo>
                    <a:cubicBezTo>
                      <a:pt x="1785" y="1349"/>
                      <a:pt x="1785" y="1349"/>
                      <a:pt x="1241" y="1349"/>
                    </a:cubicBezTo>
                    <a:cubicBezTo>
                      <a:pt x="1241" y="1130"/>
                      <a:pt x="1241" y="1130"/>
                      <a:pt x="1241" y="1130"/>
                    </a:cubicBezTo>
                    <a:cubicBezTo>
                      <a:pt x="1785" y="1130"/>
                      <a:pt x="1785" y="1130"/>
                      <a:pt x="1785" y="1130"/>
                    </a:cubicBezTo>
                    <a:cubicBezTo>
                      <a:pt x="1785" y="1198"/>
                      <a:pt x="1785" y="1271"/>
                      <a:pt x="1785" y="1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p:nvSpPr>
            <p:spPr bwMode="auto">
              <a:xfrm>
                <a:off x="5505451" y="2903538"/>
                <a:ext cx="1182687" cy="830262"/>
              </a:xfrm>
              <a:custGeom>
                <a:avLst/>
                <a:gdLst>
                  <a:gd name="connsiteX0" fmla="*/ 906341 w 1182687"/>
                  <a:gd name="connsiteY0" fmla="*/ 798512 h 830262"/>
                  <a:gd name="connsiteX1" fmla="*/ 1138358 w 1182687"/>
                  <a:gd name="connsiteY1" fmla="*/ 798512 h 830262"/>
                  <a:gd name="connsiteX2" fmla="*/ 1154112 w 1182687"/>
                  <a:gd name="connsiteY2" fmla="*/ 814387 h 830262"/>
                  <a:gd name="connsiteX3" fmla="*/ 1138358 w 1182687"/>
                  <a:gd name="connsiteY3" fmla="*/ 830262 h 830262"/>
                  <a:gd name="connsiteX4" fmla="*/ 906341 w 1182687"/>
                  <a:gd name="connsiteY4" fmla="*/ 830262 h 830262"/>
                  <a:gd name="connsiteX5" fmla="*/ 890587 w 1182687"/>
                  <a:gd name="connsiteY5" fmla="*/ 814387 h 830262"/>
                  <a:gd name="connsiteX6" fmla="*/ 906341 w 1182687"/>
                  <a:gd name="connsiteY6" fmla="*/ 798512 h 830262"/>
                  <a:gd name="connsiteX7" fmla="*/ 476035 w 1182687"/>
                  <a:gd name="connsiteY7" fmla="*/ 798512 h 830262"/>
                  <a:gd name="connsiteX8" fmla="*/ 706654 w 1182687"/>
                  <a:gd name="connsiteY8" fmla="*/ 798512 h 830262"/>
                  <a:gd name="connsiteX9" fmla="*/ 722313 w 1182687"/>
                  <a:gd name="connsiteY9" fmla="*/ 814387 h 830262"/>
                  <a:gd name="connsiteX10" fmla="*/ 706654 w 1182687"/>
                  <a:gd name="connsiteY10" fmla="*/ 830262 h 830262"/>
                  <a:gd name="connsiteX11" fmla="*/ 476035 w 1182687"/>
                  <a:gd name="connsiteY11" fmla="*/ 830262 h 830262"/>
                  <a:gd name="connsiteX12" fmla="*/ 460375 w 1182687"/>
                  <a:gd name="connsiteY12" fmla="*/ 814387 h 830262"/>
                  <a:gd name="connsiteX13" fmla="*/ 476035 w 1182687"/>
                  <a:gd name="connsiteY13" fmla="*/ 798512 h 830262"/>
                  <a:gd name="connsiteX14" fmla="*/ 44329 w 1182687"/>
                  <a:gd name="connsiteY14" fmla="*/ 798512 h 830262"/>
                  <a:gd name="connsiteX15" fmla="*/ 276346 w 1182687"/>
                  <a:gd name="connsiteY15" fmla="*/ 798512 h 830262"/>
                  <a:gd name="connsiteX16" fmla="*/ 292100 w 1182687"/>
                  <a:gd name="connsiteY16" fmla="*/ 814387 h 830262"/>
                  <a:gd name="connsiteX17" fmla="*/ 276346 w 1182687"/>
                  <a:gd name="connsiteY17" fmla="*/ 830262 h 830262"/>
                  <a:gd name="connsiteX18" fmla="*/ 44329 w 1182687"/>
                  <a:gd name="connsiteY18" fmla="*/ 830262 h 830262"/>
                  <a:gd name="connsiteX19" fmla="*/ 28575 w 1182687"/>
                  <a:gd name="connsiteY19" fmla="*/ 814387 h 830262"/>
                  <a:gd name="connsiteX20" fmla="*/ 44329 w 1182687"/>
                  <a:gd name="connsiteY20" fmla="*/ 798512 h 830262"/>
                  <a:gd name="connsiteX21" fmla="*/ 906341 w 1182687"/>
                  <a:gd name="connsiteY21" fmla="*/ 627062 h 830262"/>
                  <a:gd name="connsiteX22" fmla="*/ 1138358 w 1182687"/>
                  <a:gd name="connsiteY22" fmla="*/ 627062 h 830262"/>
                  <a:gd name="connsiteX23" fmla="*/ 1154112 w 1182687"/>
                  <a:gd name="connsiteY23" fmla="*/ 642937 h 830262"/>
                  <a:gd name="connsiteX24" fmla="*/ 1138358 w 1182687"/>
                  <a:gd name="connsiteY24" fmla="*/ 658812 h 830262"/>
                  <a:gd name="connsiteX25" fmla="*/ 906341 w 1182687"/>
                  <a:gd name="connsiteY25" fmla="*/ 658812 h 830262"/>
                  <a:gd name="connsiteX26" fmla="*/ 890587 w 1182687"/>
                  <a:gd name="connsiteY26" fmla="*/ 642937 h 830262"/>
                  <a:gd name="connsiteX27" fmla="*/ 906341 w 1182687"/>
                  <a:gd name="connsiteY27" fmla="*/ 627062 h 830262"/>
                  <a:gd name="connsiteX28" fmla="*/ 476035 w 1182687"/>
                  <a:gd name="connsiteY28" fmla="*/ 627062 h 830262"/>
                  <a:gd name="connsiteX29" fmla="*/ 706654 w 1182687"/>
                  <a:gd name="connsiteY29" fmla="*/ 627062 h 830262"/>
                  <a:gd name="connsiteX30" fmla="*/ 722313 w 1182687"/>
                  <a:gd name="connsiteY30" fmla="*/ 642937 h 830262"/>
                  <a:gd name="connsiteX31" fmla="*/ 706654 w 1182687"/>
                  <a:gd name="connsiteY31" fmla="*/ 658812 h 830262"/>
                  <a:gd name="connsiteX32" fmla="*/ 476035 w 1182687"/>
                  <a:gd name="connsiteY32" fmla="*/ 658812 h 830262"/>
                  <a:gd name="connsiteX33" fmla="*/ 460375 w 1182687"/>
                  <a:gd name="connsiteY33" fmla="*/ 642937 h 830262"/>
                  <a:gd name="connsiteX34" fmla="*/ 476035 w 1182687"/>
                  <a:gd name="connsiteY34" fmla="*/ 627062 h 830262"/>
                  <a:gd name="connsiteX35" fmla="*/ 44329 w 1182687"/>
                  <a:gd name="connsiteY35" fmla="*/ 627062 h 830262"/>
                  <a:gd name="connsiteX36" fmla="*/ 276346 w 1182687"/>
                  <a:gd name="connsiteY36" fmla="*/ 627062 h 830262"/>
                  <a:gd name="connsiteX37" fmla="*/ 292100 w 1182687"/>
                  <a:gd name="connsiteY37" fmla="*/ 642937 h 830262"/>
                  <a:gd name="connsiteX38" fmla="*/ 276346 w 1182687"/>
                  <a:gd name="connsiteY38" fmla="*/ 658812 h 830262"/>
                  <a:gd name="connsiteX39" fmla="*/ 44329 w 1182687"/>
                  <a:gd name="connsiteY39" fmla="*/ 658812 h 830262"/>
                  <a:gd name="connsiteX40" fmla="*/ 28575 w 1182687"/>
                  <a:gd name="connsiteY40" fmla="*/ 642937 h 830262"/>
                  <a:gd name="connsiteX41" fmla="*/ 44329 w 1182687"/>
                  <a:gd name="connsiteY41" fmla="*/ 627062 h 830262"/>
                  <a:gd name="connsiteX42" fmla="*/ 906341 w 1182687"/>
                  <a:gd name="connsiteY42" fmla="*/ 454025 h 830262"/>
                  <a:gd name="connsiteX43" fmla="*/ 1138358 w 1182687"/>
                  <a:gd name="connsiteY43" fmla="*/ 454025 h 830262"/>
                  <a:gd name="connsiteX44" fmla="*/ 1154112 w 1182687"/>
                  <a:gd name="connsiteY44" fmla="*/ 469900 h 830262"/>
                  <a:gd name="connsiteX45" fmla="*/ 1138358 w 1182687"/>
                  <a:gd name="connsiteY45" fmla="*/ 485775 h 830262"/>
                  <a:gd name="connsiteX46" fmla="*/ 906341 w 1182687"/>
                  <a:gd name="connsiteY46" fmla="*/ 485775 h 830262"/>
                  <a:gd name="connsiteX47" fmla="*/ 890587 w 1182687"/>
                  <a:gd name="connsiteY47" fmla="*/ 469900 h 830262"/>
                  <a:gd name="connsiteX48" fmla="*/ 906341 w 1182687"/>
                  <a:gd name="connsiteY48" fmla="*/ 454025 h 830262"/>
                  <a:gd name="connsiteX49" fmla="*/ 476035 w 1182687"/>
                  <a:gd name="connsiteY49" fmla="*/ 454025 h 830262"/>
                  <a:gd name="connsiteX50" fmla="*/ 706654 w 1182687"/>
                  <a:gd name="connsiteY50" fmla="*/ 454025 h 830262"/>
                  <a:gd name="connsiteX51" fmla="*/ 722313 w 1182687"/>
                  <a:gd name="connsiteY51" fmla="*/ 469900 h 830262"/>
                  <a:gd name="connsiteX52" fmla="*/ 706654 w 1182687"/>
                  <a:gd name="connsiteY52" fmla="*/ 485775 h 830262"/>
                  <a:gd name="connsiteX53" fmla="*/ 476035 w 1182687"/>
                  <a:gd name="connsiteY53" fmla="*/ 485775 h 830262"/>
                  <a:gd name="connsiteX54" fmla="*/ 460375 w 1182687"/>
                  <a:gd name="connsiteY54" fmla="*/ 469900 h 830262"/>
                  <a:gd name="connsiteX55" fmla="*/ 476035 w 1182687"/>
                  <a:gd name="connsiteY55" fmla="*/ 454025 h 830262"/>
                  <a:gd name="connsiteX56" fmla="*/ 44329 w 1182687"/>
                  <a:gd name="connsiteY56" fmla="*/ 454025 h 830262"/>
                  <a:gd name="connsiteX57" fmla="*/ 276346 w 1182687"/>
                  <a:gd name="connsiteY57" fmla="*/ 454025 h 830262"/>
                  <a:gd name="connsiteX58" fmla="*/ 292100 w 1182687"/>
                  <a:gd name="connsiteY58" fmla="*/ 469900 h 830262"/>
                  <a:gd name="connsiteX59" fmla="*/ 276346 w 1182687"/>
                  <a:gd name="connsiteY59" fmla="*/ 485775 h 830262"/>
                  <a:gd name="connsiteX60" fmla="*/ 44329 w 1182687"/>
                  <a:gd name="connsiteY60" fmla="*/ 485775 h 830262"/>
                  <a:gd name="connsiteX61" fmla="*/ 28575 w 1182687"/>
                  <a:gd name="connsiteY61" fmla="*/ 469900 h 830262"/>
                  <a:gd name="connsiteX62" fmla="*/ 44329 w 1182687"/>
                  <a:gd name="connsiteY62" fmla="*/ 454025 h 830262"/>
                  <a:gd name="connsiteX63" fmla="*/ 906341 w 1182687"/>
                  <a:gd name="connsiteY63" fmla="*/ 282575 h 830262"/>
                  <a:gd name="connsiteX64" fmla="*/ 1138358 w 1182687"/>
                  <a:gd name="connsiteY64" fmla="*/ 282575 h 830262"/>
                  <a:gd name="connsiteX65" fmla="*/ 1154112 w 1182687"/>
                  <a:gd name="connsiteY65" fmla="*/ 297657 h 830262"/>
                  <a:gd name="connsiteX66" fmla="*/ 1138358 w 1182687"/>
                  <a:gd name="connsiteY66" fmla="*/ 312738 h 830262"/>
                  <a:gd name="connsiteX67" fmla="*/ 906341 w 1182687"/>
                  <a:gd name="connsiteY67" fmla="*/ 312738 h 830262"/>
                  <a:gd name="connsiteX68" fmla="*/ 890587 w 1182687"/>
                  <a:gd name="connsiteY68" fmla="*/ 297657 h 830262"/>
                  <a:gd name="connsiteX69" fmla="*/ 906341 w 1182687"/>
                  <a:gd name="connsiteY69" fmla="*/ 282575 h 830262"/>
                  <a:gd name="connsiteX70" fmla="*/ 476035 w 1182687"/>
                  <a:gd name="connsiteY70" fmla="*/ 282575 h 830262"/>
                  <a:gd name="connsiteX71" fmla="*/ 706654 w 1182687"/>
                  <a:gd name="connsiteY71" fmla="*/ 282575 h 830262"/>
                  <a:gd name="connsiteX72" fmla="*/ 722313 w 1182687"/>
                  <a:gd name="connsiteY72" fmla="*/ 297657 h 830262"/>
                  <a:gd name="connsiteX73" fmla="*/ 706654 w 1182687"/>
                  <a:gd name="connsiteY73" fmla="*/ 312738 h 830262"/>
                  <a:gd name="connsiteX74" fmla="*/ 476035 w 1182687"/>
                  <a:gd name="connsiteY74" fmla="*/ 312738 h 830262"/>
                  <a:gd name="connsiteX75" fmla="*/ 460375 w 1182687"/>
                  <a:gd name="connsiteY75" fmla="*/ 297657 h 830262"/>
                  <a:gd name="connsiteX76" fmla="*/ 476035 w 1182687"/>
                  <a:gd name="connsiteY76" fmla="*/ 282575 h 830262"/>
                  <a:gd name="connsiteX77" fmla="*/ 44329 w 1182687"/>
                  <a:gd name="connsiteY77" fmla="*/ 282575 h 830262"/>
                  <a:gd name="connsiteX78" fmla="*/ 276346 w 1182687"/>
                  <a:gd name="connsiteY78" fmla="*/ 282575 h 830262"/>
                  <a:gd name="connsiteX79" fmla="*/ 292100 w 1182687"/>
                  <a:gd name="connsiteY79" fmla="*/ 297657 h 830262"/>
                  <a:gd name="connsiteX80" fmla="*/ 276346 w 1182687"/>
                  <a:gd name="connsiteY80" fmla="*/ 312738 h 830262"/>
                  <a:gd name="connsiteX81" fmla="*/ 44329 w 1182687"/>
                  <a:gd name="connsiteY81" fmla="*/ 312738 h 830262"/>
                  <a:gd name="connsiteX82" fmla="*/ 28575 w 1182687"/>
                  <a:gd name="connsiteY82" fmla="*/ 297657 h 830262"/>
                  <a:gd name="connsiteX83" fmla="*/ 44329 w 1182687"/>
                  <a:gd name="connsiteY83" fmla="*/ 282575 h 830262"/>
                  <a:gd name="connsiteX84" fmla="*/ 823912 w 1182687"/>
                  <a:gd name="connsiteY84" fmla="*/ 0 h 830262"/>
                  <a:gd name="connsiteX85" fmla="*/ 1182687 w 1182687"/>
                  <a:gd name="connsiteY85" fmla="*/ 0 h 830262"/>
                  <a:gd name="connsiteX86" fmla="*/ 1182687 w 1182687"/>
                  <a:gd name="connsiteY86" fmla="*/ 147638 h 830262"/>
                  <a:gd name="connsiteX87" fmla="*/ 823912 w 1182687"/>
                  <a:gd name="connsiteY87" fmla="*/ 147638 h 830262"/>
                  <a:gd name="connsiteX88" fmla="*/ 823912 w 1182687"/>
                  <a:gd name="connsiteY88" fmla="*/ 33338 h 830262"/>
                  <a:gd name="connsiteX89" fmla="*/ 388937 w 1182687"/>
                  <a:gd name="connsiteY89" fmla="*/ 0 h 830262"/>
                  <a:gd name="connsiteX90" fmla="*/ 793750 w 1182687"/>
                  <a:gd name="connsiteY90" fmla="*/ 0 h 830262"/>
                  <a:gd name="connsiteX91" fmla="*/ 793750 w 1182687"/>
                  <a:gd name="connsiteY91" fmla="*/ 33338 h 830262"/>
                  <a:gd name="connsiteX92" fmla="*/ 793750 w 1182687"/>
                  <a:gd name="connsiteY92" fmla="*/ 147638 h 830262"/>
                  <a:gd name="connsiteX93" fmla="*/ 388937 w 1182687"/>
                  <a:gd name="connsiteY93" fmla="*/ 147638 h 830262"/>
                  <a:gd name="connsiteX94" fmla="*/ 388937 w 1182687"/>
                  <a:gd name="connsiteY94" fmla="*/ 33338 h 830262"/>
                  <a:gd name="connsiteX95" fmla="*/ 0 w 1182687"/>
                  <a:gd name="connsiteY95" fmla="*/ 0 h 830262"/>
                  <a:gd name="connsiteX96" fmla="*/ 357188 w 1182687"/>
                  <a:gd name="connsiteY96" fmla="*/ 0 h 830262"/>
                  <a:gd name="connsiteX97" fmla="*/ 357188 w 1182687"/>
                  <a:gd name="connsiteY97" fmla="*/ 33338 h 830262"/>
                  <a:gd name="connsiteX98" fmla="*/ 357188 w 1182687"/>
                  <a:gd name="connsiteY98" fmla="*/ 147638 h 830262"/>
                  <a:gd name="connsiteX99" fmla="*/ 0 w 1182687"/>
                  <a:gd name="connsiteY99" fmla="*/ 147638 h 83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182687" h="830262">
                    <a:moveTo>
                      <a:pt x="906341" y="798512"/>
                    </a:moveTo>
                    <a:cubicBezTo>
                      <a:pt x="906341" y="798512"/>
                      <a:pt x="906341" y="798512"/>
                      <a:pt x="1138358" y="798512"/>
                    </a:cubicBezTo>
                    <a:cubicBezTo>
                      <a:pt x="1146951" y="798512"/>
                      <a:pt x="1154112" y="805728"/>
                      <a:pt x="1154112" y="814387"/>
                    </a:cubicBezTo>
                    <a:cubicBezTo>
                      <a:pt x="1154112" y="823046"/>
                      <a:pt x="1146951" y="830262"/>
                      <a:pt x="1138358" y="830262"/>
                    </a:cubicBezTo>
                    <a:cubicBezTo>
                      <a:pt x="1138358" y="830262"/>
                      <a:pt x="1138358" y="830262"/>
                      <a:pt x="906341" y="830262"/>
                    </a:cubicBezTo>
                    <a:cubicBezTo>
                      <a:pt x="897748" y="830262"/>
                      <a:pt x="890587" y="823046"/>
                      <a:pt x="890587" y="814387"/>
                    </a:cubicBezTo>
                    <a:cubicBezTo>
                      <a:pt x="890587" y="805728"/>
                      <a:pt x="897748" y="798512"/>
                      <a:pt x="906341" y="798512"/>
                    </a:cubicBezTo>
                    <a:close/>
                    <a:moveTo>
                      <a:pt x="476035" y="798512"/>
                    </a:moveTo>
                    <a:cubicBezTo>
                      <a:pt x="476035" y="798512"/>
                      <a:pt x="476035" y="798512"/>
                      <a:pt x="706654" y="798512"/>
                    </a:cubicBezTo>
                    <a:cubicBezTo>
                      <a:pt x="715195" y="798512"/>
                      <a:pt x="722313" y="805728"/>
                      <a:pt x="722313" y="814387"/>
                    </a:cubicBezTo>
                    <a:cubicBezTo>
                      <a:pt x="722313" y="823046"/>
                      <a:pt x="715195" y="830262"/>
                      <a:pt x="706654" y="830262"/>
                    </a:cubicBezTo>
                    <a:cubicBezTo>
                      <a:pt x="706654" y="830262"/>
                      <a:pt x="706654" y="830262"/>
                      <a:pt x="476035" y="830262"/>
                    </a:cubicBezTo>
                    <a:cubicBezTo>
                      <a:pt x="467493" y="830262"/>
                      <a:pt x="460375" y="823046"/>
                      <a:pt x="460375" y="814387"/>
                    </a:cubicBezTo>
                    <a:cubicBezTo>
                      <a:pt x="460375" y="805728"/>
                      <a:pt x="467493" y="798512"/>
                      <a:pt x="476035" y="798512"/>
                    </a:cubicBezTo>
                    <a:close/>
                    <a:moveTo>
                      <a:pt x="44329" y="798512"/>
                    </a:moveTo>
                    <a:cubicBezTo>
                      <a:pt x="44329" y="798512"/>
                      <a:pt x="44329" y="798512"/>
                      <a:pt x="276346" y="798512"/>
                    </a:cubicBezTo>
                    <a:cubicBezTo>
                      <a:pt x="284939" y="798512"/>
                      <a:pt x="292100" y="805728"/>
                      <a:pt x="292100" y="814387"/>
                    </a:cubicBezTo>
                    <a:cubicBezTo>
                      <a:pt x="292100" y="823046"/>
                      <a:pt x="284939" y="830262"/>
                      <a:pt x="276346" y="830262"/>
                    </a:cubicBezTo>
                    <a:cubicBezTo>
                      <a:pt x="276346" y="830262"/>
                      <a:pt x="276346" y="830262"/>
                      <a:pt x="44329" y="830262"/>
                    </a:cubicBezTo>
                    <a:cubicBezTo>
                      <a:pt x="35736" y="830262"/>
                      <a:pt x="28575" y="823046"/>
                      <a:pt x="28575" y="814387"/>
                    </a:cubicBezTo>
                    <a:cubicBezTo>
                      <a:pt x="28575" y="805728"/>
                      <a:pt x="35736" y="798512"/>
                      <a:pt x="44329" y="798512"/>
                    </a:cubicBezTo>
                    <a:close/>
                    <a:moveTo>
                      <a:pt x="906341" y="627062"/>
                    </a:moveTo>
                    <a:cubicBezTo>
                      <a:pt x="906341" y="627062"/>
                      <a:pt x="906341" y="627062"/>
                      <a:pt x="1138358" y="627062"/>
                    </a:cubicBezTo>
                    <a:cubicBezTo>
                      <a:pt x="1146951" y="627062"/>
                      <a:pt x="1154112" y="634278"/>
                      <a:pt x="1154112" y="642937"/>
                    </a:cubicBezTo>
                    <a:cubicBezTo>
                      <a:pt x="1154112" y="651596"/>
                      <a:pt x="1146951" y="658812"/>
                      <a:pt x="1138358" y="658812"/>
                    </a:cubicBezTo>
                    <a:cubicBezTo>
                      <a:pt x="1138358" y="658812"/>
                      <a:pt x="1138358" y="658812"/>
                      <a:pt x="906341" y="658812"/>
                    </a:cubicBezTo>
                    <a:cubicBezTo>
                      <a:pt x="897748" y="658812"/>
                      <a:pt x="890587" y="651596"/>
                      <a:pt x="890587" y="642937"/>
                    </a:cubicBezTo>
                    <a:cubicBezTo>
                      <a:pt x="890587" y="634278"/>
                      <a:pt x="897748" y="627062"/>
                      <a:pt x="906341" y="627062"/>
                    </a:cubicBezTo>
                    <a:close/>
                    <a:moveTo>
                      <a:pt x="476035" y="627062"/>
                    </a:moveTo>
                    <a:cubicBezTo>
                      <a:pt x="476035" y="627062"/>
                      <a:pt x="476035" y="627062"/>
                      <a:pt x="706654" y="627062"/>
                    </a:cubicBezTo>
                    <a:cubicBezTo>
                      <a:pt x="715195" y="627062"/>
                      <a:pt x="722313" y="634278"/>
                      <a:pt x="722313" y="642937"/>
                    </a:cubicBezTo>
                    <a:cubicBezTo>
                      <a:pt x="722313" y="651596"/>
                      <a:pt x="715195" y="658812"/>
                      <a:pt x="706654" y="658812"/>
                    </a:cubicBezTo>
                    <a:cubicBezTo>
                      <a:pt x="706654" y="658812"/>
                      <a:pt x="706654" y="658812"/>
                      <a:pt x="476035" y="658812"/>
                    </a:cubicBezTo>
                    <a:cubicBezTo>
                      <a:pt x="467493" y="658812"/>
                      <a:pt x="460375" y="651596"/>
                      <a:pt x="460375" y="642937"/>
                    </a:cubicBezTo>
                    <a:cubicBezTo>
                      <a:pt x="460375" y="634278"/>
                      <a:pt x="467493" y="627062"/>
                      <a:pt x="476035" y="627062"/>
                    </a:cubicBezTo>
                    <a:close/>
                    <a:moveTo>
                      <a:pt x="44329" y="627062"/>
                    </a:moveTo>
                    <a:cubicBezTo>
                      <a:pt x="44329" y="627062"/>
                      <a:pt x="44329" y="627062"/>
                      <a:pt x="276346" y="627062"/>
                    </a:cubicBezTo>
                    <a:cubicBezTo>
                      <a:pt x="284939" y="627062"/>
                      <a:pt x="292100" y="634278"/>
                      <a:pt x="292100" y="642937"/>
                    </a:cubicBezTo>
                    <a:cubicBezTo>
                      <a:pt x="292100" y="651596"/>
                      <a:pt x="284939" y="658812"/>
                      <a:pt x="276346" y="658812"/>
                    </a:cubicBezTo>
                    <a:cubicBezTo>
                      <a:pt x="276346" y="658812"/>
                      <a:pt x="276346" y="658812"/>
                      <a:pt x="44329" y="658812"/>
                    </a:cubicBezTo>
                    <a:cubicBezTo>
                      <a:pt x="35736" y="658812"/>
                      <a:pt x="28575" y="651596"/>
                      <a:pt x="28575" y="642937"/>
                    </a:cubicBezTo>
                    <a:cubicBezTo>
                      <a:pt x="28575" y="634278"/>
                      <a:pt x="35736" y="627062"/>
                      <a:pt x="44329" y="627062"/>
                    </a:cubicBezTo>
                    <a:close/>
                    <a:moveTo>
                      <a:pt x="906341" y="454025"/>
                    </a:moveTo>
                    <a:cubicBezTo>
                      <a:pt x="906341" y="454025"/>
                      <a:pt x="906341" y="454025"/>
                      <a:pt x="1138358" y="454025"/>
                    </a:cubicBezTo>
                    <a:cubicBezTo>
                      <a:pt x="1146951" y="454025"/>
                      <a:pt x="1154112" y="461241"/>
                      <a:pt x="1154112" y="469900"/>
                    </a:cubicBezTo>
                    <a:cubicBezTo>
                      <a:pt x="1154112" y="478559"/>
                      <a:pt x="1146951" y="485775"/>
                      <a:pt x="1138358" y="485775"/>
                    </a:cubicBezTo>
                    <a:cubicBezTo>
                      <a:pt x="1138358" y="485775"/>
                      <a:pt x="1138358" y="485775"/>
                      <a:pt x="906341" y="485775"/>
                    </a:cubicBezTo>
                    <a:cubicBezTo>
                      <a:pt x="897748" y="485775"/>
                      <a:pt x="890587" y="478559"/>
                      <a:pt x="890587" y="469900"/>
                    </a:cubicBezTo>
                    <a:cubicBezTo>
                      <a:pt x="890587" y="461241"/>
                      <a:pt x="897748" y="454025"/>
                      <a:pt x="906341" y="454025"/>
                    </a:cubicBezTo>
                    <a:close/>
                    <a:moveTo>
                      <a:pt x="476035" y="454025"/>
                    </a:moveTo>
                    <a:cubicBezTo>
                      <a:pt x="476035" y="454025"/>
                      <a:pt x="476035" y="454025"/>
                      <a:pt x="706654" y="454025"/>
                    </a:cubicBezTo>
                    <a:cubicBezTo>
                      <a:pt x="715195" y="454025"/>
                      <a:pt x="722313" y="461241"/>
                      <a:pt x="722313" y="469900"/>
                    </a:cubicBezTo>
                    <a:cubicBezTo>
                      <a:pt x="722313" y="478559"/>
                      <a:pt x="715195" y="485775"/>
                      <a:pt x="706654" y="485775"/>
                    </a:cubicBezTo>
                    <a:cubicBezTo>
                      <a:pt x="706654" y="485775"/>
                      <a:pt x="706654" y="485775"/>
                      <a:pt x="476035" y="485775"/>
                    </a:cubicBezTo>
                    <a:cubicBezTo>
                      <a:pt x="467493" y="485775"/>
                      <a:pt x="460375" y="478559"/>
                      <a:pt x="460375" y="469900"/>
                    </a:cubicBezTo>
                    <a:cubicBezTo>
                      <a:pt x="460375" y="461241"/>
                      <a:pt x="467493" y="454025"/>
                      <a:pt x="476035" y="454025"/>
                    </a:cubicBezTo>
                    <a:close/>
                    <a:moveTo>
                      <a:pt x="44329" y="454025"/>
                    </a:moveTo>
                    <a:cubicBezTo>
                      <a:pt x="44329" y="454025"/>
                      <a:pt x="44329" y="454025"/>
                      <a:pt x="276346" y="454025"/>
                    </a:cubicBezTo>
                    <a:cubicBezTo>
                      <a:pt x="284939" y="454025"/>
                      <a:pt x="292100" y="461241"/>
                      <a:pt x="292100" y="469900"/>
                    </a:cubicBezTo>
                    <a:cubicBezTo>
                      <a:pt x="292100" y="478559"/>
                      <a:pt x="284939" y="485775"/>
                      <a:pt x="276346" y="485775"/>
                    </a:cubicBezTo>
                    <a:cubicBezTo>
                      <a:pt x="276346" y="485775"/>
                      <a:pt x="276346" y="485775"/>
                      <a:pt x="44329" y="485775"/>
                    </a:cubicBezTo>
                    <a:cubicBezTo>
                      <a:pt x="35736" y="485775"/>
                      <a:pt x="28575" y="478559"/>
                      <a:pt x="28575" y="469900"/>
                    </a:cubicBezTo>
                    <a:cubicBezTo>
                      <a:pt x="28575" y="461241"/>
                      <a:pt x="35736" y="454025"/>
                      <a:pt x="44329" y="454025"/>
                    </a:cubicBezTo>
                    <a:close/>
                    <a:moveTo>
                      <a:pt x="906341" y="282575"/>
                    </a:moveTo>
                    <a:cubicBezTo>
                      <a:pt x="906341" y="282575"/>
                      <a:pt x="906341" y="282575"/>
                      <a:pt x="1138358" y="282575"/>
                    </a:cubicBezTo>
                    <a:cubicBezTo>
                      <a:pt x="1146951" y="282575"/>
                      <a:pt x="1154112" y="289430"/>
                      <a:pt x="1154112" y="297657"/>
                    </a:cubicBezTo>
                    <a:cubicBezTo>
                      <a:pt x="1154112" y="305883"/>
                      <a:pt x="1146951" y="312738"/>
                      <a:pt x="1138358" y="312738"/>
                    </a:cubicBezTo>
                    <a:cubicBezTo>
                      <a:pt x="1138358" y="312738"/>
                      <a:pt x="1138358" y="312738"/>
                      <a:pt x="906341" y="312738"/>
                    </a:cubicBezTo>
                    <a:cubicBezTo>
                      <a:pt x="897748" y="312738"/>
                      <a:pt x="890587" y="305883"/>
                      <a:pt x="890587" y="297657"/>
                    </a:cubicBezTo>
                    <a:cubicBezTo>
                      <a:pt x="890587" y="289430"/>
                      <a:pt x="897748" y="282575"/>
                      <a:pt x="906341" y="282575"/>
                    </a:cubicBezTo>
                    <a:close/>
                    <a:moveTo>
                      <a:pt x="476035" y="282575"/>
                    </a:moveTo>
                    <a:cubicBezTo>
                      <a:pt x="476035" y="282575"/>
                      <a:pt x="476035" y="282575"/>
                      <a:pt x="706654" y="282575"/>
                    </a:cubicBezTo>
                    <a:cubicBezTo>
                      <a:pt x="715195" y="282575"/>
                      <a:pt x="722313" y="289430"/>
                      <a:pt x="722313" y="297657"/>
                    </a:cubicBezTo>
                    <a:cubicBezTo>
                      <a:pt x="722313" y="305883"/>
                      <a:pt x="715195" y="312738"/>
                      <a:pt x="706654" y="312738"/>
                    </a:cubicBezTo>
                    <a:cubicBezTo>
                      <a:pt x="706654" y="312738"/>
                      <a:pt x="706654" y="312738"/>
                      <a:pt x="476035" y="312738"/>
                    </a:cubicBezTo>
                    <a:cubicBezTo>
                      <a:pt x="467493" y="312738"/>
                      <a:pt x="460375" y="305883"/>
                      <a:pt x="460375" y="297657"/>
                    </a:cubicBezTo>
                    <a:cubicBezTo>
                      <a:pt x="460375" y="289430"/>
                      <a:pt x="467493" y="282575"/>
                      <a:pt x="476035" y="282575"/>
                    </a:cubicBezTo>
                    <a:close/>
                    <a:moveTo>
                      <a:pt x="44329" y="282575"/>
                    </a:moveTo>
                    <a:cubicBezTo>
                      <a:pt x="44329" y="282575"/>
                      <a:pt x="44329" y="282575"/>
                      <a:pt x="276346" y="282575"/>
                    </a:cubicBezTo>
                    <a:cubicBezTo>
                      <a:pt x="284939" y="282575"/>
                      <a:pt x="292100" y="289430"/>
                      <a:pt x="292100" y="297657"/>
                    </a:cubicBezTo>
                    <a:cubicBezTo>
                      <a:pt x="292100" y="305883"/>
                      <a:pt x="284939" y="312738"/>
                      <a:pt x="276346" y="312738"/>
                    </a:cubicBezTo>
                    <a:cubicBezTo>
                      <a:pt x="276346" y="312738"/>
                      <a:pt x="276346" y="312738"/>
                      <a:pt x="44329" y="312738"/>
                    </a:cubicBezTo>
                    <a:cubicBezTo>
                      <a:pt x="35736" y="312738"/>
                      <a:pt x="28575" y="305883"/>
                      <a:pt x="28575" y="297657"/>
                    </a:cubicBezTo>
                    <a:cubicBezTo>
                      <a:pt x="28575" y="289430"/>
                      <a:pt x="35736" y="282575"/>
                      <a:pt x="44329" y="282575"/>
                    </a:cubicBezTo>
                    <a:close/>
                    <a:moveTo>
                      <a:pt x="823912" y="0"/>
                    </a:moveTo>
                    <a:lnTo>
                      <a:pt x="1182687" y="0"/>
                    </a:lnTo>
                    <a:lnTo>
                      <a:pt x="1182687" y="147638"/>
                    </a:lnTo>
                    <a:lnTo>
                      <a:pt x="823912" y="147638"/>
                    </a:lnTo>
                    <a:lnTo>
                      <a:pt x="823912" y="33338"/>
                    </a:lnTo>
                    <a:close/>
                    <a:moveTo>
                      <a:pt x="388937" y="0"/>
                    </a:moveTo>
                    <a:lnTo>
                      <a:pt x="793750" y="0"/>
                    </a:lnTo>
                    <a:lnTo>
                      <a:pt x="793750" y="33338"/>
                    </a:lnTo>
                    <a:lnTo>
                      <a:pt x="793750" y="147638"/>
                    </a:lnTo>
                    <a:lnTo>
                      <a:pt x="388937" y="147638"/>
                    </a:lnTo>
                    <a:lnTo>
                      <a:pt x="388937" y="33338"/>
                    </a:lnTo>
                    <a:close/>
                    <a:moveTo>
                      <a:pt x="0" y="0"/>
                    </a:moveTo>
                    <a:lnTo>
                      <a:pt x="357188" y="0"/>
                    </a:lnTo>
                    <a:lnTo>
                      <a:pt x="357188" y="33338"/>
                    </a:lnTo>
                    <a:lnTo>
                      <a:pt x="357188" y="147638"/>
                    </a:lnTo>
                    <a:lnTo>
                      <a:pt x="0" y="14763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20" name="ee4pHeader1"/>
          <p:cNvSpPr txBox="1"/>
          <p:nvPr/>
        </p:nvSpPr>
        <p:spPr>
          <a:xfrm>
            <a:off x="630000" y="2307948"/>
            <a:ext cx="4995640" cy="658368"/>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Open data Paris</a:t>
            </a:r>
          </a:p>
        </p:txBody>
      </p:sp>
      <p:sp>
        <p:nvSpPr>
          <p:cNvPr id="21" name="ee4pHeader2"/>
          <p:cNvSpPr txBox="1"/>
          <p:nvPr/>
        </p:nvSpPr>
        <p:spPr>
          <a:xfrm>
            <a:off x="6567560" y="2307948"/>
            <a:ext cx="4995640" cy="658368"/>
          </a:xfrm>
          <a:prstGeom prst="rect">
            <a:avLst/>
          </a:prstGeom>
          <a:noFill/>
          <a:ln cap="rnd">
            <a:noFill/>
          </a:ln>
        </p:spPr>
        <p:txBody>
          <a:bodyPr wrap="square" lIns="0" tIns="0" rIns="0" bIns="0" rtlCol="0" anchor="b" anchorCtr="0">
            <a:noAutofit/>
          </a:bodyPr>
          <a:lstStyle/>
          <a:p>
            <a:pPr marL="0" lvl="3"/>
            <a:r>
              <a:rPr lang="fr-FR" sz="2400" dirty="0">
                <a:solidFill>
                  <a:schemeClr val="tx2"/>
                </a:solidFill>
              </a:rPr>
              <a:t>Sources externes</a:t>
            </a:r>
          </a:p>
        </p:txBody>
      </p:sp>
      <p:grpSp>
        <p:nvGrpSpPr>
          <p:cNvPr id="37" name="Group 36"/>
          <p:cNvGrpSpPr/>
          <p:nvPr/>
        </p:nvGrpSpPr>
        <p:grpSpPr>
          <a:xfrm rot="5400000">
            <a:off x="3043560" y="749137"/>
            <a:ext cx="306171" cy="4935688"/>
            <a:chOff x="5942914" y="1584085"/>
            <a:chExt cx="306171" cy="4935688"/>
          </a:xfrm>
        </p:grpSpPr>
        <p:cxnSp>
          <p:nvCxnSpPr>
            <p:cNvPr id="38" name="Straight Connector 37"/>
            <p:cNvCxnSpPr/>
            <p:nvPr/>
          </p:nvCxnSpPr>
          <p:spPr>
            <a:xfrm>
              <a:off x="6096008" y="1584085"/>
              <a:ext cx="0" cy="493568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5942914" y="3967299"/>
              <a:ext cx="306171" cy="306910"/>
              <a:chOff x="5937564" y="3833745"/>
              <a:chExt cx="306171" cy="306910"/>
            </a:xfrm>
          </p:grpSpPr>
          <p:sp>
            <p:nvSpPr>
              <p:cNvPr id="40"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1"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42" name="Group 41"/>
          <p:cNvGrpSpPr/>
          <p:nvPr/>
        </p:nvGrpSpPr>
        <p:grpSpPr>
          <a:xfrm rot="5400000">
            <a:off x="8912296" y="973486"/>
            <a:ext cx="306171" cy="4486989"/>
            <a:chOff x="5942914" y="1877259"/>
            <a:chExt cx="306171" cy="4486989"/>
          </a:xfrm>
        </p:grpSpPr>
        <p:cxnSp>
          <p:nvCxnSpPr>
            <p:cNvPr id="43" name="Straight Connector 42"/>
            <p:cNvCxnSpPr/>
            <p:nvPr/>
          </p:nvCxnSpPr>
          <p:spPr>
            <a:xfrm>
              <a:off x="6096001" y="1877259"/>
              <a:ext cx="0" cy="44869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5942914" y="3967299"/>
              <a:ext cx="306171" cy="306910"/>
              <a:chOff x="5937564" y="3833745"/>
              <a:chExt cx="306171" cy="306910"/>
            </a:xfrm>
          </p:grpSpPr>
          <p:sp>
            <p:nvSpPr>
              <p:cNvPr id="45"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6"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3" name="Group 12">
            <a:extLst>
              <a:ext uri="{FF2B5EF4-FFF2-40B4-BE49-F238E27FC236}">
                <a16:creationId xmlns:a16="http://schemas.microsoft.com/office/drawing/2014/main" id="{C2E74957-14B8-0D44-84A3-502F95AFE77A}"/>
              </a:ext>
            </a:extLst>
          </p:cNvPr>
          <p:cNvGrpSpPr/>
          <p:nvPr/>
        </p:nvGrpSpPr>
        <p:grpSpPr>
          <a:xfrm>
            <a:off x="788341" y="6134180"/>
            <a:ext cx="9565027" cy="393291"/>
            <a:chOff x="788341" y="6134180"/>
            <a:chExt cx="9565027" cy="393291"/>
          </a:xfrm>
        </p:grpSpPr>
        <p:sp>
          <p:nvSpPr>
            <p:cNvPr id="5" name="TextBox 4">
              <a:extLst>
                <a:ext uri="{FF2B5EF4-FFF2-40B4-BE49-F238E27FC236}">
                  <a16:creationId xmlns:a16="http://schemas.microsoft.com/office/drawing/2014/main" id="{B9FC1149-4989-3847-B3F9-A28B5C976FDF}"/>
                </a:ext>
              </a:extLst>
            </p:cNvPr>
            <p:cNvSpPr txBox="1"/>
            <p:nvPr/>
          </p:nvSpPr>
          <p:spPr>
            <a:xfrm>
              <a:off x="1191019" y="6134180"/>
              <a:ext cx="9162349" cy="3932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FR" sz="1400" dirty="0">
                  <a:solidFill>
                    <a:srgbClr val="E71C57"/>
                  </a:solidFill>
                </a:rPr>
                <a:t>N’oubliez pas de télécharger deux fois les données: une fois pour entrainer vos algorithmes, une autre fois avant le rendu final pour réaliser la prédiction</a:t>
              </a:r>
            </a:p>
          </p:txBody>
        </p:sp>
        <p:grpSp>
          <p:nvGrpSpPr>
            <p:cNvPr id="31" name="bcgBugs_Alert">
              <a:extLst>
                <a:ext uri="{FF2B5EF4-FFF2-40B4-BE49-F238E27FC236}">
                  <a16:creationId xmlns:a16="http://schemas.microsoft.com/office/drawing/2014/main" id="{AEEE8DEE-C2DD-1B47-BB52-5736A8B6C22E}"/>
                </a:ext>
              </a:extLst>
            </p:cNvPr>
            <p:cNvGrpSpPr>
              <a:grpSpLocks noChangeAspect="1"/>
            </p:cNvGrpSpPr>
            <p:nvPr/>
          </p:nvGrpSpPr>
          <p:grpSpPr bwMode="auto">
            <a:xfrm>
              <a:off x="788341" y="6159074"/>
              <a:ext cx="343165" cy="343501"/>
              <a:chOff x="2818" y="1137"/>
              <a:chExt cx="2044" cy="2046"/>
            </a:xfrm>
          </p:grpSpPr>
          <p:sp>
            <p:nvSpPr>
              <p:cNvPr id="32" name="AutoShape 7">
                <a:extLst>
                  <a:ext uri="{FF2B5EF4-FFF2-40B4-BE49-F238E27FC236}">
                    <a16:creationId xmlns:a16="http://schemas.microsoft.com/office/drawing/2014/main" id="{3161FCAF-0968-4E47-8576-4F9494B42F5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9">
                <a:extLst>
                  <a:ext uri="{FF2B5EF4-FFF2-40B4-BE49-F238E27FC236}">
                    <a16:creationId xmlns:a16="http://schemas.microsoft.com/office/drawing/2014/main" id="{C1E156D6-1787-5443-ACF1-C9E0DF0DDC28}"/>
                  </a:ext>
                </a:extLst>
              </p:cNvPr>
              <p:cNvSpPr>
                <a:spLocks noEditPoints="1"/>
              </p:cNvSpPr>
              <p:nvPr/>
            </p:nvSpPr>
            <p:spPr bwMode="auto">
              <a:xfrm>
                <a:off x="2947" y="1395"/>
                <a:ext cx="1788" cy="1550"/>
              </a:xfrm>
              <a:custGeom>
                <a:avLst/>
                <a:gdLst>
                  <a:gd name="T0" fmla="*/ 866 w 874"/>
                  <a:gd name="T1" fmla="*/ 724 h 757"/>
                  <a:gd name="T2" fmla="*/ 456 w 874"/>
                  <a:gd name="T3" fmla="*/ 14 h 757"/>
                  <a:gd name="T4" fmla="*/ 418 w 874"/>
                  <a:gd name="T5" fmla="*/ 14 h 757"/>
                  <a:gd name="T6" fmla="*/ 8 w 874"/>
                  <a:gd name="T7" fmla="*/ 724 h 757"/>
                  <a:gd name="T8" fmla="*/ 27 w 874"/>
                  <a:gd name="T9" fmla="*/ 757 h 757"/>
                  <a:gd name="T10" fmla="*/ 847 w 874"/>
                  <a:gd name="T11" fmla="*/ 757 h 757"/>
                  <a:gd name="T12" fmla="*/ 866 w 874"/>
                  <a:gd name="T13" fmla="*/ 724 h 757"/>
                  <a:gd name="T14" fmla="*/ 397 w 874"/>
                  <a:gd name="T15" fmla="*/ 206 h 757"/>
                  <a:gd name="T16" fmla="*/ 477 w 874"/>
                  <a:gd name="T17" fmla="*/ 206 h 757"/>
                  <a:gd name="T18" fmla="*/ 477 w 874"/>
                  <a:gd name="T19" fmla="*/ 332 h 757"/>
                  <a:gd name="T20" fmla="*/ 453 w 874"/>
                  <a:gd name="T21" fmla="*/ 548 h 757"/>
                  <a:gd name="T22" fmla="*/ 421 w 874"/>
                  <a:gd name="T23" fmla="*/ 548 h 757"/>
                  <a:gd name="T24" fmla="*/ 397 w 874"/>
                  <a:gd name="T25" fmla="*/ 332 h 757"/>
                  <a:gd name="T26" fmla="*/ 397 w 874"/>
                  <a:gd name="T27" fmla="*/ 206 h 757"/>
                  <a:gd name="T28" fmla="*/ 473 w 874"/>
                  <a:gd name="T29" fmla="*/ 658 h 757"/>
                  <a:gd name="T30" fmla="*/ 438 w 874"/>
                  <a:gd name="T31" fmla="*/ 673 h 757"/>
                  <a:gd name="T32" fmla="*/ 402 w 874"/>
                  <a:gd name="T33" fmla="*/ 658 h 757"/>
                  <a:gd name="T34" fmla="*/ 386 w 874"/>
                  <a:gd name="T35" fmla="*/ 622 h 757"/>
                  <a:gd name="T36" fmla="*/ 402 w 874"/>
                  <a:gd name="T37" fmla="*/ 586 h 757"/>
                  <a:gd name="T38" fmla="*/ 438 w 874"/>
                  <a:gd name="T39" fmla="*/ 571 h 757"/>
                  <a:gd name="T40" fmla="*/ 473 w 874"/>
                  <a:gd name="T41" fmla="*/ 586 h 757"/>
                  <a:gd name="T42" fmla="*/ 488 w 874"/>
                  <a:gd name="T43" fmla="*/ 622 h 757"/>
                  <a:gd name="T44" fmla="*/ 473 w 874"/>
                  <a:gd name="T45" fmla="*/ 658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4" h="757">
                    <a:moveTo>
                      <a:pt x="866" y="724"/>
                    </a:moveTo>
                    <a:cubicBezTo>
                      <a:pt x="456" y="14"/>
                      <a:pt x="456" y="14"/>
                      <a:pt x="456" y="14"/>
                    </a:cubicBezTo>
                    <a:cubicBezTo>
                      <a:pt x="448" y="0"/>
                      <a:pt x="426" y="0"/>
                      <a:pt x="418" y="14"/>
                    </a:cubicBezTo>
                    <a:cubicBezTo>
                      <a:pt x="8" y="724"/>
                      <a:pt x="8" y="724"/>
                      <a:pt x="8" y="724"/>
                    </a:cubicBezTo>
                    <a:cubicBezTo>
                      <a:pt x="0" y="738"/>
                      <a:pt x="10" y="757"/>
                      <a:pt x="27" y="757"/>
                    </a:cubicBezTo>
                    <a:cubicBezTo>
                      <a:pt x="847" y="757"/>
                      <a:pt x="847" y="757"/>
                      <a:pt x="847" y="757"/>
                    </a:cubicBezTo>
                    <a:cubicBezTo>
                      <a:pt x="864" y="757"/>
                      <a:pt x="874" y="738"/>
                      <a:pt x="866" y="724"/>
                    </a:cubicBezTo>
                    <a:close/>
                    <a:moveTo>
                      <a:pt x="397" y="206"/>
                    </a:moveTo>
                    <a:cubicBezTo>
                      <a:pt x="477" y="206"/>
                      <a:pt x="477" y="206"/>
                      <a:pt x="477" y="206"/>
                    </a:cubicBezTo>
                    <a:cubicBezTo>
                      <a:pt x="477" y="332"/>
                      <a:pt x="477" y="332"/>
                      <a:pt x="477" y="332"/>
                    </a:cubicBezTo>
                    <a:cubicBezTo>
                      <a:pt x="477" y="373"/>
                      <a:pt x="470" y="446"/>
                      <a:pt x="453" y="548"/>
                    </a:cubicBezTo>
                    <a:cubicBezTo>
                      <a:pt x="421" y="548"/>
                      <a:pt x="421" y="548"/>
                      <a:pt x="421" y="548"/>
                    </a:cubicBezTo>
                    <a:cubicBezTo>
                      <a:pt x="405" y="446"/>
                      <a:pt x="397" y="373"/>
                      <a:pt x="397" y="332"/>
                    </a:cubicBezTo>
                    <a:lnTo>
                      <a:pt x="397" y="206"/>
                    </a:lnTo>
                    <a:close/>
                    <a:moveTo>
                      <a:pt x="473" y="658"/>
                    </a:moveTo>
                    <a:cubicBezTo>
                      <a:pt x="464" y="668"/>
                      <a:pt x="452" y="673"/>
                      <a:pt x="438" y="673"/>
                    </a:cubicBezTo>
                    <a:cubicBezTo>
                      <a:pt x="423" y="673"/>
                      <a:pt x="411" y="668"/>
                      <a:pt x="402" y="658"/>
                    </a:cubicBezTo>
                    <a:cubicBezTo>
                      <a:pt x="392" y="648"/>
                      <a:pt x="386" y="636"/>
                      <a:pt x="386" y="622"/>
                    </a:cubicBezTo>
                    <a:cubicBezTo>
                      <a:pt x="386" y="608"/>
                      <a:pt x="392" y="596"/>
                      <a:pt x="402" y="586"/>
                    </a:cubicBezTo>
                    <a:cubicBezTo>
                      <a:pt x="411" y="576"/>
                      <a:pt x="423" y="571"/>
                      <a:pt x="438" y="571"/>
                    </a:cubicBezTo>
                    <a:cubicBezTo>
                      <a:pt x="452" y="571"/>
                      <a:pt x="464" y="576"/>
                      <a:pt x="473" y="586"/>
                    </a:cubicBezTo>
                    <a:cubicBezTo>
                      <a:pt x="483" y="596"/>
                      <a:pt x="488" y="608"/>
                      <a:pt x="488" y="622"/>
                    </a:cubicBezTo>
                    <a:cubicBezTo>
                      <a:pt x="488" y="636"/>
                      <a:pt x="483" y="648"/>
                      <a:pt x="473" y="658"/>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641147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B47CDFCC-1143-7948-AD68-3F174198DEC0}"/>
              </a:ext>
            </a:extLst>
          </p:cNvPr>
          <p:cNvGraphicFramePr>
            <a:graphicFrameLocks noChangeAspect="1"/>
          </p:cNvGraphicFramePr>
          <p:nvPr>
            <p:custDataLst>
              <p:tags r:id="rId2"/>
            </p:custDataLst>
            <p:extLst>
              <p:ext uri="{D42A27DB-BD31-4B8C-83A1-F6EECF244321}">
                <p14:modId xmlns:p14="http://schemas.microsoft.com/office/powerpoint/2010/main" val="36205359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3838"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64C4FE-6167-0044-BD9C-483A9986AF21}"/>
              </a:ext>
            </a:extLst>
          </p:cNvPr>
          <p:cNvSpPr>
            <a:spLocks noGrp="1"/>
          </p:cNvSpPr>
          <p:nvPr>
            <p:ph type="title"/>
          </p:nvPr>
        </p:nvSpPr>
        <p:spPr/>
        <p:txBody>
          <a:bodyPr vert="horz"/>
          <a:lstStyle/>
          <a:p>
            <a:r>
              <a:rPr lang="fr-FR" u="sng" dirty="0">
                <a:solidFill>
                  <a:srgbClr val="03522D"/>
                </a:solidFill>
              </a:rPr>
              <a:t>Livrable 1 :</a:t>
            </a:r>
            <a:r>
              <a:rPr lang="fr-FR" dirty="0">
                <a:solidFill>
                  <a:srgbClr val="03522D"/>
                </a:solidFill>
              </a:rPr>
              <a:t> </a:t>
            </a:r>
            <a:r>
              <a:rPr lang="en-FR" dirty="0"/>
              <a:t>Précisions pour télécharger les données</a:t>
            </a:r>
          </a:p>
        </p:txBody>
      </p:sp>
      <p:grpSp>
        <p:nvGrpSpPr>
          <p:cNvPr id="4" name="Group 3">
            <a:extLst>
              <a:ext uri="{FF2B5EF4-FFF2-40B4-BE49-F238E27FC236}">
                <a16:creationId xmlns:a16="http://schemas.microsoft.com/office/drawing/2014/main" id="{64DE5607-EAAF-D74E-8927-E6D11D74485C}"/>
              </a:ext>
            </a:extLst>
          </p:cNvPr>
          <p:cNvGrpSpPr/>
          <p:nvPr/>
        </p:nvGrpSpPr>
        <p:grpSpPr>
          <a:xfrm>
            <a:off x="788341" y="6134180"/>
            <a:ext cx="9565027" cy="393291"/>
            <a:chOff x="788341" y="6134180"/>
            <a:chExt cx="9565027" cy="393291"/>
          </a:xfrm>
        </p:grpSpPr>
        <p:sp>
          <p:nvSpPr>
            <p:cNvPr id="5" name="TextBox 4">
              <a:extLst>
                <a:ext uri="{FF2B5EF4-FFF2-40B4-BE49-F238E27FC236}">
                  <a16:creationId xmlns:a16="http://schemas.microsoft.com/office/drawing/2014/main" id="{E496FAC2-E4D3-D249-A54C-F6CA3875010C}"/>
                </a:ext>
              </a:extLst>
            </p:cNvPr>
            <p:cNvSpPr txBox="1"/>
            <p:nvPr/>
          </p:nvSpPr>
          <p:spPr>
            <a:xfrm>
              <a:off x="1191019" y="6134180"/>
              <a:ext cx="9162349" cy="3932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FR" sz="1400" dirty="0">
                  <a:solidFill>
                    <a:srgbClr val="E71C57"/>
                  </a:solidFill>
                </a:rPr>
                <a:t>N’oubliez pas de télécharger deux fois les données: une fois pour entrainer vos algorithmes, une autre fois avant le rendu final pour réaliser la prédiction</a:t>
              </a:r>
            </a:p>
          </p:txBody>
        </p:sp>
        <p:grpSp>
          <p:nvGrpSpPr>
            <p:cNvPr id="6" name="bcgBugs_Alert">
              <a:extLst>
                <a:ext uri="{FF2B5EF4-FFF2-40B4-BE49-F238E27FC236}">
                  <a16:creationId xmlns:a16="http://schemas.microsoft.com/office/drawing/2014/main" id="{9290F57D-757A-594C-8344-E20A05D8A983}"/>
                </a:ext>
              </a:extLst>
            </p:cNvPr>
            <p:cNvGrpSpPr>
              <a:grpSpLocks noChangeAspect="1"/>
            </p:cNvGrpSpPr>
            <p:nvPr/>
          </p:nvGrpSpPr>
          <p:grpSpPr bwMode="auto">
            <a:xfrm>
              <a:off x="788341" y="6159074"/>
              <a:ext cx="343165" cy="343501"/>
              <a:chOff x="2818" y="1137"/>
              <a:chExt cx="2044" cy="2046"/>
            </a:xfrm>
          </p:grpSpPr>
          <p:sp>
            <p:nvSpPr>
              <p:cNvPr id="7" name="AutoShape 7">
                <a:extLst>
                  <a:ext uri="{FF2B5EF4-FFF2-40B4-BE49-F238E27FC236}">
                    <a16:creationId xmlns:a16="http://schemas.microsoft.com/office/drawing/2014/main" id="{0204BFAA-0CB5-D24C-8C89-777BAAEAB400}"/>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9">
                <a:extLst>
                  <a:ext uri="{FF2B5EF4-FFF2-40B4-BE49-F238E27FC236}">
                    <a16:creationId xmlns:a16="http://schemas.microsoft.com/office/drawing/2014/main" id="{C62D4A61-7B88-1448-AB8E-4D58FADD5725}"/>
                  </a:ext>
                </a:extLst>
              </p:cNvPr>
              <p:cNvSpPr>
                <a:spLocks noEditPoints="1"/>
              </p:cNvSpPr>
              <p:nvPr/>
            </p:nvSpPr>
            <p:spPr bwMode="auto">
              <a:xfrm>
                <a:off x="2947" y="1395"/>
                <a:ext cx="1788" cy="1550"/>
              </a:xfrm>
              <a:custGeom>
                <a:avLst/>
                <a:gdLst>
                  <a:gd name="T0" fmla="*/ 866 w 874"/>
                  <a:gd name="T1" fmla="*/ 724 h 757"/>
                  <a:gd name="T2" fmla="*/ 456 w 874"/>
                  <a:gd name="T3" fmla="*/ 14 h 757"/>
                  <a:gd name="T4" fmla="*/ 418 w 874"/>
                  <a:gd name="T5" fmla="*/ 14 h 757"/>
                  <a:gd name="T6" fmla="*/ 8 w 874"/>
                  <a:gd name="T7" fmla="*/ 724 h 757"/>
                  <a:gd name="T8" fmla="*/ 27 w 874"/>
                  <a:gd name="T9" fmla="*/ 757 h 757"/>
                  <a:gd name="T10" fmla="*/ 847 w 874"/>
                  <a:gd name="T11" fmla="*/ 757 h 757"/>
                  <a:gd name="T12" fmla="*/ 866 w 874"/>
                  <a:gd name="T13" fmla="*/ 724 h 757"/>
                  <a:gd name="T14" fmla="*/ 397 w 874"/>
                  <a:gd name="T15" fmla="*/ 206 h 757"/>
                  <a:gd name="T16" fmla="*/ 477 w 874"/>
                  <a:gd name="T17" fmla="*/ 206 h 757"/>
                  <a:gd name="T18" fmla="*/ 477 w 874"/>
                  <a:gd name="T19" fmla="*/ 332 h 757"/>
                  <a:gd name="T20" fmla="*/ 453 w 874"/>
                  <a:gd name="T21" fmla="*/ 548 h 757"/>
                  <a:gd name="T22" fmla="*/ 421 w 874"/>
                  <a:gd name="T23" fmla="*/ 548 h 757"/>
                  <a:gd name="T24" fmla="*/ 397 w 874"/>
                  <a:gd name="T25" fmla="*/ 332 h 757"/>
                  <a:gd name="T26" fmla="*/ 397 w 874"/>
                  <a:gd name="T27" fmla="*/ 206 h 757"/>
                  <a:gd name="T28" fmla="*/ 473 w 874"/>
                  <a:gd name="T29" fmla="*/ 658 h 757"/>
                  <a:gd name="T30" fmla="*/ 438 w 874"/>
                  <a:gd name="T31" fmla="*/ 673 h 757"/>
                  <a:gd name="T32" fmla="*/ 402 w 874"/>
                  <a:gd name="T33" fmla="*/ 658 h 757"/>
                  <a:gd name="T34" fmla="*/ 386 w 874"/>
                  <a:gd name="T35" fmla="*/ 622 h 757"/>
                  <a:gd name="T36" fmla="*/ 402 w 874"/>
                  <a:gd name="T37" fmla="*/ 586 h 757"/>
                  <a:gd name="T38" fmla="*/ 438 w 874"/>
                  <a:gd name="T39" fmla="*/ 571 h 757"/>
                  <a:gd name="T40" fmla="*/ 473 w 874"/>
                  <a:gd name="T41" fmla="*/ 586 h 757"/>
                  <a:gd name="T42" fmla="*/ 488 w 874"/>
                  <a:gd name="T43" fmla="*/ 622 h 757"/>
                  <a:gd name="T44" fmla="*/ 473 w 874"/>
                  <a:gd name="T45" fmla="*/ 658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4" h="757">
                    <a:moveTo>
                      <a:pt x="866" y="724"/>
                    </a:moveTo>
                    <a:cubicBezTo>
                      <a:pt x="456" y="14"/>
                      <a:pt x="456" y="14"/>
                      <a:pt x="456" y="14"/>
                    </a:cubicBezTo>
                    <a:cubicBezTo>
                      <a:pt x="448" y="0"/>
                      <a:pt x="426" y="0"/>
                      <a:pt x="418" y="14"/>
                    </a:cubicBezTo>
                    <a:cubicBezTo>
                      <a:pt x="8" y="724"/>
                      <a:pt x="8" y="724"/>
                      <a:pt x="8" y="724"/>
                    </a:cubicBezTo>
                    <a:cubicBezTo>
                      <a:pt x="0" y="738"/>
                      <a:pt x="10" y="757"/>
                      <a:pt x="27" y="757"/>
                    </a:cubicBezTo>
                    <a:cubicBezTo>
                      <a:pt x="847" y="757"/>
                      <a:pt x="847" y="757"/>
                      <a:pt x="847" y="757"/>
                    </a:cubicBezTo>
                    <a:cubicBezTo>
                      <a:pt x="864" y="757"/>
                      <a:pt x="874" y="738"/>
                      <a:pt x="866" y="724"/>
                    </a:cubicBezTo>
                    <a:close/>
                    <a:moveTo>
                      <a:pt x="397" y="206"/>
                    </a:moveTo>
                    <a:cubicBezTo>
                      <a:pt x="477" y="206"/>
                      <a:pt x="477" y="206"/>
                      <a:pt x="477" y="206"/>
                    </a:cubicBezTo>
                    <a:cubicBezTo>
                      <a:pt x="477" y="332"/>
                      <a:pt x="477" y="332"/>
                      <a:pt x="477" y="332"/>
                    </a:cubicBezTo>
                    <a:cubicBezTo>
                      <a:pt x="477" y="373"/>
                      <a:pt x="470" y="446"/>
                      <a:pt x="453" y="548"/>
                    </a:cubicBezTo>
                    <a:cubicBezTo>
                      <a:pt x="421" y="548"/>
                      <a:pt x="421" y="548"/>
                      <a:pt x="421" y="548"/>
                    </a:cubicBezTo>
                    <a:cubicBezTo>
                      <a:pt x="405" y="446"/>
                      <a:pt x="397" y="373"/>
                      <a:pt x="397" y="332"/>
                    </a:cubicBezTo>
                    <a:lnTo>
                      <a:pt x="397" y="206"/>
                    </a:lnTo>
                    <a:close/>
                    <a:moveTo>
                      <a:pt x="473" y="658"/>
                    </a:moveTo>
                    <a:cubicBezTo>
                      <a:pt x="464" y="668"/>
                      <a:pt x="452" y="673"/>
                      <a:pt x="438" y="673"/>
                    </a:cubicBezTo>
                    <a:cubicBezTo>
                      <a:pt x="423" y="673"/>
                      <a:pt x="411" y="668"/>
                      <a:pt x="402" y="658"/>
                    </a:cubicBezTo>
                    <a:cubicBezTo>
                      <a:pt x="392" y="648"/>
                      <a:pt x="386" y="636"/>
                      <a:pt x="386" y="622"/>
                    </a:cubicBezTo>
                    <a:cubicBezTo>
                      <a:pt x="386" y="608"/>
                      <a:pt x="392" y="596"/>
                      <a:pt x="402" y="586"/>
                    </a:cubicBezTo>
                    <a:cubicBezTo>
                      <a:pt x="411" y="576"/>
                      <a:pt x="423" y="571"/>
                      <a:pt x="438" y="571"/>
                    </a:cubicBezTo>
                    <a:cubicBezTo>
                      <a:pt x="452" y="571"/>
                      <a:pt x="464" y="576"/>
                      <a:pt x="473" y="586"/>
                    </a:cubicBezTo>
                    <a:cubicBezTo>
                      <a:pt x="483" y="596"/>
                      <a:pt x="488" y="608"/>
                      <a:pt x="488" y="622"/>
                    </a:cubicBezTo>
                    <a:cubicBezTo>
                      <a:pt x="488" y="636"/>
                      <a:pt x="483" y="648"/>
                      <a:pt x="473" y="658"/>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1" name="Group 10">
            <a:extLst>
              <a:ext uri="{FF2B5EF4-FFF2-40B4-BE49-F238E27FC236}">
                <a16:creationId xmlns:a16="http://schemas.microsoft.com/office/drawing/2014/main" id="{578B2A94-6AE4-F343-A639-6182BB8233A4}"/>
              </a:ext>
            </a:extLst>
          </p:cNvPr>
          <p:cNvGrpSpPr/>
          <p:nvPr/>
        </p:nvGrpSpPr>
        <p:grpSpPr>
          <a:xfrm>
            <a:off x="656544" y="1373036"/>
            <a:ext cx="6971111" cy="432364"/>
            <a:chOff x="656544" y="1776161"/>
            <a:chExt cx="6971111" cy="432364"/>
          </a:xfrm>
        </p:grpSpPr>
        <p:sp>
          <p:nvSpPr>
            <p:cNvPr id="9" name="Oval 20">
              <a:extLst>
                <a:ext uri="{FF2B5EF4-FFF2-40B4-BE49-F238E27FC236}">
                  <a16:creationId xmlns:a16="http://schemas.microsoft.com/office/drawing/2014/main" id="{88343460-EB57-E24A-B91C-EC842CDE9EF8}"/>
                </a:ext>
              </a:extLst>
            </p:cNvPr>
            <p:cNvSpPr>
              <a:spLocks noChangeAspect="1" noChangeArrowheads="1"/>
            </p:cNvSpPr>
            <p:nvPr/>
          </p:nvSpPr>
          <p:spPr bwMode="auto">
            <a:xfrm>
              <a:off x="656544" y="1838888"/>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10" name="TextBox 9">
              <a:extLst>
                <a:ext uri="{FF2B5EF4-FFF2-40B4-BE49-F238E27FC236}">
                  <a16:creationId xmlns:a16="http://schemas.microsoft.com/office/drawing/2014/main" id="{E12E9CE5-FE02-0048-8FA4-E2AB98A6D9F8}"/>
                </a:ext>
              </a:extLst>
            </p:cNvPr>
            <p:cNvSpPr txBox="1"/>
            <p:nvPr/>
          </p:nvSpPr>
          <p:spPr>
            <a:xfrm>
              <a:off x="1002029" y="1776161"/>
              <a:ext cx="6625626" cy="4323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FR" dirty="0">
                  <a:solidFill>
                    <a:srgbClr val="575757"/>
                  </a:solidFill>
                </a:rPr>
                <a:t>Vous rendre sur </a:t>
              </a:r>
              <a:r>
                <a:rPr lang="en-FR" dirty="0">
                  <a:solidFill>
                    <a:srgbClr val="575757"/>
                  </a:solidFill>
                  <a:hlinkClick r:id="rId6"/>
                </a:rPr>
                <a:t>ce lien</a:t>
              </a:r>
              <a:r>
                <a:rPr lang="en-FR" dirty="0">
                  <a:solidFill>
                    <a:srgbClr val="575757"/>
                  </a:solidFill>
                </a:rPr>
                <a:t> permettant de télécharger les données</a:t>
              </a:r>
            </a:p>
          </p:txBody>
        </p:sp>
      </p:grpSp>
      <p:grpSp>
        <p:nvGrpSpPr>
          <p:cNvPr id="13" name="Group 12">
            <a:extLst>
              <a:ext uri="{FF2B5EF4-FFF2-40B4-BE49-F238E27FC236}">
                <a16:creationId xmlns:a16="http://schemas.microsoft.com/office/drawing/2014/main" id="{1328EECE-5D22-6B40-872B-DA079D5C5451}"/>
              </a:ext>
            </a:extLst>
          </p:cNvPr>
          <p:cNvGrpSpPr/>
          <p:nvPr/>
        </p:nvGrpSpPr>
        <p:grpSpPr>
          <a:xfrm>
            <a:off x="656544" y="1918982"/>
            <a:ext cx="10296591" cy="617742"/>
            <a:chOff x="656544" y="1776161"/>
            <a:chExt cx="10296591" cy="617742"/>
          </a:xfrm>
        </p:grpSpPr>
        <p:sp>
          <p:nvSpPr>
            <p:cNvPr id="14" name="Oval 20">
              <a:extLst>
                <a:ext uri="{FF2B5EF4-FFF2-40B4-BE49-F238E27FC236}">
                  <a16:creationId xmlns:a16="http://schemas.microsoft.com/office/drawing/2014/main" id="{2D319B49-4456-BF4D-938A-4C77DA2ACE1A}"/>
                </a:ext>
              </a:extLst>
            </p:cNvPr>
            <p:cNvSpPr>
              <a:spLocks noChangeAspect="1" noChangeArrowheads="1"/>
            </p:cNvSpPr>
            <p:nvPr/>
          </p:nvSpPr>
          <p:spPr bwMode="auto">
            <a:xfrm>
              <a:off x="656544" y="1931577"/>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5" name="TextBox 14">
              <a:extLst>
                <a:ext uri="{FF2B5EF4-FFF2-40B4-BE49-F238E27FC236}">
                  <a16:creationId xmlns:a16="http://schemas.microsoft.com/office/drawing/2014/main" id="{427BFCAA-F4B2-8C4E-9CFB-92F9F6C9BA8B}"/>
                </a:ext>
              </a:extLst>
            </p:cNvPr>
            <p:cNvSpPr txBox="1"/>
            <p:nvPr/>
          </p:nvSpPr>
          <p:spPr>
            <a:xfrm>
              <a:off x="1002028" y="1776161"/>
              <a:ext cx="9951107" cy="6177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FR" dirty="0">
                  <a:solidFill>
                    <a:srgbClr val="575757"/>
                  </a:solidFill>
                </a:rPr>
                <a:t>Filtrer les données pour les télécharger arc par arc: </a:t>
              </a:r>
              <a:r>
                <a:rPr lang="en-FR" dirty="0">
                  <a:solidFill>
                    <a:srgbClr val="E71C57"/>
                  </a:solidFill>
                </a:rPr>
                <a:t>des données peuvent être manquantes si l’on tente d’en télécharger trop d’un coup</a:t>
              </a:r>
            </a:p>
          </p:txBody>
        </p:sp>
      </p:grpSp>
      <p:pic>
        <p:nvPicPr>
          <p:cNvPr id="12" name="Picture 11">
            <a:extLst>
              <a:ext uri="{FF2B5EF4-FFF2-40B4-BE49-F238E27FC236}">
                <a16:creationId xmlns:a16="http://schemas.microsoft.com/office/drawing/2014/main" id="{E6F6EF6B-DDD8-0F43-85D1-59B1AD20F7F4}"/>
              </a:ext>
            </a:extLst>
          </p:cNvPr>
          <p:cNvPicPr>
            <a:picLocks noChangeAspect="1"/>
          </p:cNvPicPr>
          <p:nvPr/>
        </p:nvPicPr>
        <p:blipFill>
          <a:blip r:embed="rId7"/>
          <a:stretch>
            <a:fillRect/>
          </a:stretch>
        </p:blipFill>
        <p:spPr>
          <a:xfrm>
            <a:off x="4693436" y="2692890"/>
            <a:ext cx="1332386" cy="2064725"/>
          </a:xfrm>
          <a:prstGeom prst="rect">
            <a:avLst/>
          </a:prstGeom>
        </p:spPr>
      </p:pic>
      <p:sp>
        <p:nvSpPr>
          <p:cNvPr id="24" name="TextBox 23">
            <a:extLst>
              <a:ext uri="{FF2B5EF4-FFF2-40B4-BE49-F238E27FC236}">
                <a16:creationId xmlns:a16="http://schemas.microsoft.com/office/drawing/2014/main" id="{AD603843-8141-614C-9CA0-CBA2C2727E57}"/>
              </a:ext>
            </a:extLst>
          </p:cNvPr>
          <p:cNvSpPr txBox="1"/>
          <p:nvPr/>
        </p:nvSpPr>
        <p:spPr>
          <a:xfrm>
            <a:off x="759501" y="2617118"/>
            <a:ext cx="3771307" cy="19874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2700" lvl="1" algn="r">
              <a:buClr>
                <a:schemeClr val="tx2">
                  <a:lumMod val="100000"/>
                </a:schemeClr>
              </a:buClr>
              <a:buSzPct val="100000"/>
            </a:pPr>
            <a:r>
              <a:rPr lang="en-FR" sz="1600" dirty="0">
                <a:solidFill>
                  <a:schemeClr val="tx1">
                    <a:lumMod val="100000"/>
                  </a:schemeClr>
                </a:solidFill>
                <a:latin typeface="Trebuchet MS" panose="020B0703020202090204" pitchFamily="34" charset="0"/>
              </a:rPr>
              <a:t>Dans le champ ”Filtres” à gauche </a:t>
            </a:r>
            <a:r>
              <a:rPr lang="en-FR" sz="1600" dirty="0">
                <a:solidFill>
                  <a:schemeClr val="tx2"/>
                </a:solidFill>
                <a:latin typeface="Trebuchet MS" panose="020B0703020202090204" pitchFamily="34" charset="0"/>
              </a:rPr>
              <a:t>renseigner le nom de l’arc </a:t>
            </a:r>
            <a:r>
              <a:rPr lang="en-FR" sz="1600" dirty="0">
                <a:solidFill>
                  <a:schemeClr val="tx1">
                    <a:lumMod val="100000"/>
                  </a:schemeClr>
                </a:solidFill>
                <a:latin typeface="Trebuchet MS" panose="020B0703020202090204" pitchFamily="34" charset="0"/>
              </a:rPr>
              <a:t>et </a:t>
            </a:r>
          </a:p>
          <a:p>
            <a:pPr marL="12700" lvl="1" algn="r">
              <a:buClr>
                <a:schemeClr val="tx2">
                  <a:lumMod val="100000"/>
                </a:schemeClr>
              </a:buClr>
              <a:buSzPct val="100000"/>
            </a:pPr>
            <a:r>
              <a:rPr lang="en-FR" sz="1600" dirty="0">
                <a:solidFill>
                  <a:schemeClr val="tx2"/>
                </a:solidFill>
                <a:latin typeface="Trebuchet MS" panose="020B0703020202090204" pitchFamily="34" charset="0"/>
              </a:rPr>
              <a:t>cliquer sur le libellé de l’arc </a:t>
            </a:r>
            <a:r>
              <a:rPr lang="en-FR" sz="1600" dirty="0">
                <a:solidFill>
                  <a:schemeClr val="tx1"/>
                </a:solidFill>
                <a:latin typeface="Trebuchet MS" panose="020B0703020202090204" pitchFamily="34" charset="0"/>
              </a:rPr>
              <a:t>puis</a:t>
            </a:r>
            <a:r>
              <a:rPr lang="en-FR" sz="1600" dirty="0">
                <a:solidFill>
                  <a:schemeClr val="tx2"/>
                </a:solidFill>
                <a:latin typeface="Trebuchet MS" panose="020B0703020202090204" pitchFamily="34" charset="0"/>
              </a:rPr>
              <a:t> </a:t>
            </a:r>
          </a:p>
          <a:p>
            <a:pPr marL="12700" lvl="1" algn="r">
              <a:buClr>
                <a:schemeClr val="tx2">
                  <a:lumMod val="100000"/>
                </a:schemeClr>
              </a:buClr>
              <a:buSzPct val="100000"/>
            </a:pPr>
            <a:r>
              <a:rPr lang="en-FR" sz="1600" dirty="0">
                <a:solidFill>
                  <a:schemeClr val="tx2"/>
                </a:solidFill>
                <a:latin typeface="Trebuchet MS" panose="020B0703020202090204" pitchFamily="34" charset="0"/>
              </a:rPr>
              <a:t>téléchargez les enregistrements</a:t>
            </a:r>
          </a:p>
          <a:p>
            <a:pPr marL="12700" lvl="1" algn="r">
              <a:buClr>
                <a:schemeClr val="tx2">
                  <a:lumMod val="100000"/>
                </a:schemeClr>
              </a:buClr>
              <a:buSzPct val="100000"/>
            </a:pPr>
            <a:endParaRPr lang="en-FR" sz="1600" dirty="0">
              <a:solidFill>
                <a:schemeClr val="tx2"/>
              </a:solidFill>
              <a:latin typeface="Trebuchet MS" panose="020B0703020202090204" pitchFamily="34" charset="0"/>
            </a:endParaRPr>
          </a:p>
          <a:p>
            <a:pPr marL="12700" lvl="1" algn="r">
              <a:buClr>
                <a:schemeClr val="tx2">
                  <a:lumMod val="100000"/>
                </a:schemeClr>
              </a:buClr>
              <a:buSzPct val="100000"/>
            </a:pPr>
            <a:r>
              <a:rPr lang="en-FR" sz="1400" i="1" dirty="0">
                <a:solidFill>
                  <a:schemeClr val="tx1"/>
                </a:solidFill>
                <a:latin typeface="Trebuchet MS" panose="020B0703020202090204" pitchFamily="34" charset="0"/>
              </a:rPr>
              <a:t>- “washington” pour les Champs Elysées</a:t>
            </a:r>
          </a:p>
          <a:p>
            <a:pPr marL="12700" lvl="1" algn="r">
              <a:buClr>
                <a:schemeClr val="tx2">
                  <a:lumMod val="100000"/>
                </a:schemeClr>
              </a:buClr>
              <a:buSzPct val="100000"/>
            </a:pPr>
            <a:r>
              <a:rPr lang="en-FR" sz="1400" i="1" dirty="0">
                <a:solidFill>
                  <a:schemeClr val="tx1"/>
                </a:solidFill>
                <a:latin typeface="Trebuchet MS" panose="020B0703020202090204" pitchFamily="34" charset="0"/>
              </a:rPr>
              <a:t>- “convention” pour la rue de la Convention</a:t>
            </a:r>
          </a:p>
          <a:p>
            <a:pPr marL="12700" lvl="1" algn="r">
              <a:buClr>
                <a:schemeClr val="tx2">
                  <a:lumMod val="100000"/>
                </a:schemeClr>
              </a:buClr>
              <a:buSzPct val="100000"/>
            </a:pPr>
            <a:r>
              <a:rPr lang="en-FR" sz="1400" i="1" dirty="0">
                <a:solidFill>
                  <a:schemeClr val="tx1"/>
                </a:solidFill>
                <a:latin typeface="Trebuchet MS" panose="020B0703020202090204" pitchFamily="34" charset="0"/>
              </a:rPr>
              <a:t>- “</a:t>
            </a:r>
            <a:r>
              <a:rPr lang="en-GB" sz="1400" i="1" dirty="0" err="1">
                <a:solidFill>
                  <a:schemeClr val="tx1"/>
                </a:solidFill>
                <a:latin typeface="Trebuchet MS" panose="020B0703020202090204" pitchFamily="34" charset="0"/>
              </a:rPr>
              <a:t>Sts</a:t>
            </a:r>
            <a:r>
              <a:rPr lang="en-GB" sz="1400" i="1" dirty="0">
                <a:solidFill>
                  <a:schemeClr val="tx1"/>
                </a:solidFill>
                <a:latin typeface="Trebuchet MS" panose="020B0703020202090204" pitchFamily="34" charset="0"/>
              </a:rPr>
              <a:t>” pour la rue des Saints </a:t>
            </a:r>
            <a:r>
              <a:rPr lang="en-GB" sz="1400" i="1" dirty="0" err="1">
                <a:solidFill>
                  <a:schemeClr val="tx1"/>
                </a:solidFill>
                <a:latin typeface="Trebuchet MS" panose="020B0703020202090204" pitchFamily="34" charset="0"/>
              </a:rPr>
              <a:t>Pères</a:t>
            </a:r>
            <a:endParaRPr lang="en-GB" sz="1400" i="1" dirty="0">
              <a:solidFill>
                <a:schemeClr val="tx1"/>
              </a:solidFill>
              <a:latin typeface="Trebuchet MS" panose="020B0703020202090204" pitchFamily="34" charset="0"/>
            </a:endParaRPr>
          </a:p>
          <a:p>
            <a:pPr marL="12700" lvl="1" algn="r">
              <a:buClr>
                <a:schemeClr val="tx2">
                  <a:lumMod val="100000"/>
                </a:schemeClr>
              </a:buClr>
              <a:buSzPct val="100000"/>
            </a:pPr>
            <a:r>
              <a:rPr lang="en-FR" sz="1400" i="1" dirty="0">
                <a:solidFill>
                  <a:schemeClr val="tx1"/>
                </a:solidFill>
                <a:latin typeface="Trebuchet MS" panose="020B0703020202090204" pitchFamily="34" charset="0"/>
              </a:rPr>
              <a:t>- … pour tout autre arc</a:t>
            </a:r>
          </a:p>
        </p:txBody>
      </p:sp>
      <p:sp>
        <p:nvSpPr>
          <p:cNvPr id="38" name="Oval 20">
            <a:extLst>
              <a:ext uri="{FF2B5EF4-FFF2-40B4-BE49-F238E27FC236}">
                <a16:creationId xmlns:a16="http://schemas.microsoft.com/office/drawing/2014/main" id="{F2988CB3-620E-F945-B7D0-2DB4C4F412EC}"/>
              </a:ext>
            </a:extLst>
          </p:cNvPr>
          <p:cNvSpPr>
            <a:spLocks noChangeAspect="1" noChangeArrowheads="1"/>
          </p:cNvSpPr>
          <p:nvPr/>
        </p:nvSpPr>
        <p:spPr bwMode="auto">
          <a:xfrm>
            <a:off x="656544" y="4821395"/>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39" name="TextBox 38">
            <a:extLst>
              <a:ext uri="{FF2B5EF4-FFF2-40B4-BE49-F238E27FC236}">
                <a16:creationId xmlns:a16="http://schemas.microsoft.com/office/drawing/2014/main" id="{086B6317-9B87-0C40-99F8-6E73C27B7DB5}"/>
              </a:ext>
            </a:extLst>
          </p:cNvPr>
          <p:cNvSpPr txBox="1"/>
          <p:nvPr/>
        </p:nvSpPr>
        <p:spPr>
          <a:xfrm>
            <a:off x="1002028" y="4790184"/>
            <a:ext cx="9951107"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FR" dirty="0">
                <a:solidFill>
                  <a:srgbClr val="575757"/>
                </a:solidFill>
              </a:rPr>
              <a:t>Filtrer les arcs par noeud directement au sein de votre code</a:t>
            </a:r>
            <a:endParaRPr lang="en-FR" dirty="0">
              <a:solidFill>
                <a:srgbClr val="E71C57"/>
              </a:solidFill>
            </a:endParaRPr>
          </a:p>
        </p:txBody>
      </p:sp>
      <p:sp>
        <p:nvSpPr>
          <p:cNvPr id="40" name="TextBox 39">
            <a:extLst>
              <a:ext uri="{FF2B5EF4-FFF2-40B4-BE49-F238E27FC236}">
                <a16:creationId xmlns:a16="http://schemas.microsoft.com/office/drawing/2014/main" id="{6BFF5055-4FB8-AE41-B46B-B26D5706BE4E}"/>
              </a:ext>
            </a:extLst>
          </p:cNvPr>
          <p:cNvSpPr txBox="1"/>
          <p:nvPr/>
        </p:nvSpPr>
        <p:spPr>
          <a:xfrm>
            <a:off x="1110183" y="5159516"/>
            <a:ext cx="8722067" cy="954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Tx/>
              <a:buChar char="-"/>
            </a:pPr>
            <a:r>
              <a:rPr lang="en-FR" sz="1400" dirty="0">
                <a:solidFill>
                  <a:srgbClr val="6E6F73"/>
                </a:solidFill>
              </a:rPr>
              <a:t>Noeud amont “</a:t>
            </a:r>
            <a:r>
              <a:rPr lang="en-GB" sz="1400" dirty="0" err="1">
                <a:solidFill>
                  <a:srgbClr val="6E6F73"/>
                </a:solidFill>
              </a:rPr>
              <a:t>Av_Champs_Elysees</a:t>
            </a:r>
            <a:r>
              <a:rPr lang="en-GB" sz="1400" dirty="0">
                <a:solidFill>
                  <a:srgbClr val="6E6F73"/>
                </a:solidFill>
              </a:rPr>
              <a:t>-Washington</a:t>
            </a:r>
            <a:r>
              <a:rPr lang="en-FR" sz="1400" dirty="0">
                <a:solidFill>
                  <a:srgbClr val="6E6F73"/>
                </a:solidFill>
              </a:rPr>
              <a:t>” et noeud aval “</a:t>
            </a:r>
            <a:r>
              <a:rPr lang="en-GB" sz="1400" dirty="0" err="1">
                <a:solidFill>
                  <a:srgbClr val="6E6F73"/>
                </a:solidFill>
              </a:rPr>
              <a:t>Av_Champs_Elysees</a:t>
            </a:r>
            <a:r>
              <a:rPr lang="en-GB" sz="1400" dirty="0">
                <a:solidFill>
                  <a:srgbClr val="6E6F73"/>
                </a:solidFill>
              </a:rPr>
              <a:t>-Berri</a:t>
            </a:r>
            <a:r>
              <a:rPr lang="en-FR" sz="1400" dirty="0">
                <a:solidFill>
                  <a:srgbClr val="6E6F73"/>
                </a:solidFill>
              </a:rPr>
              <a:t>” pour les Champs Elysées</a:t>
            </a:r>
          </a:p>
          <a:p>
            <a:pPr marL="285750" indent="-285750">
              <a:buFontTx/>
              <a:buChar char="-"/>
            </a:pPr>
            <a:r>
              <a:rPr lang="en-FR" sz="1400" dirty="0">
                <a:solidFill>
                  <a:srgbClr val="6E6F73"/>
                </a:solidFill>
              </a:rPr>
              <a:t>Noeud amont “Lecourbe-Convention” et noeud aval “Convention-Blomet” pour la rue de la Convention</a:t>
            </a:r>
          </a:p>
          <a:p>
            <a:pPr marL="285750" indent="-285750">
              <a:buFontTx/>
              <a:buChar char="-"/>
            </a:pPr>
            <a:r>
              <a:rPr lang="en-FR" sz="1400" dirty="0">
                <a:solidFill>
                  <a:srgbClr val="6E6F73"/>
                </a:solidFill>
              </a:rPr>
              <a:t>Noeud amont “Sts_Peres-Voltaire” et noeud aval “Sts_Peres-Universite” pour la rue des Saints Pères</a:t>
            </a:r>
          </a:p>
        </p:txBody>
      </p:sp>
      <p:pic>
        <p:nvPicPr>
          <p:cNvPr id="19" name="Picture 18">
            <a:extLst>
              <a:ext uri="{FF2B5EF4-FFF2-40B4-BE49-F238E27FC236}">
                <a16:creationId xmlns:a16="http://schemas.microsoft.com/office/drawing/2014/main" id="{B334ADAB-F964-A547-A7AB-9AD75D7B8843}"/>
              </a:ext>
            </a:extLst>
          </p:cNvPr>
          <p:cNvPicPr>
            <a:picLocks noChangeAspect="1"/>
          </p:cNvPicPr>
          <p:nvPr/>
        </p:nvPicPr>
        <p:blipFill>
          <a:blip r:embed="rId8"/>
          <a:stretch>
            <a:fillRect/>
          </a:stretch>
        </p:blipFill>
        <p:spPr>
          <a:xfrm>
            <a:off x="6127335" y="3019049"/>
            <a:ext cx="4520920" cy="1232326"/>
          </a:xfrm>
          <a:prstGeom prst="rect">
            <a:avLst/>
          </a:prstGeom>
        </p:spPr>
      </p:pic>
      <p:cxnSp>
        <p:nvCxnSpPr>
          <p:cNvPr id="49" name="Straight Arrow Connector 48">
            <a:extLst>
              <a:ext uri="{FF2B5EF4-FFF2-40B4-BE49-F238E27FC236}">
                <a16:creationId xmlns:a16="http://schemas.microsoft.com/office/drawing/2014/main" id="{13175E36-A7FD-5446-A0A3-0125C657C1C4}"/>
              </a:ext>
            </a:extLst>
          </p:cNvPr>
          <p:cNvCxnSpPr>
            <a:cxnSpLocks/>
          </p:cNvCxnSpPr>
          <p:nvPr/>
        </p:nvCxnSpPr>
        <p:spPr>
          <a:xfrm flipH="1">
            <a:off x="8583561" y="2804845"/>
            <a:ext cx="570713" cy="466646"/>
          </a:xfrm>
          <a:prstGeom prst="straightConnector1">
            <a:avLst/>
          </a:prstGeom>
          <a:ln w="19050" cap="rnd">
            <a:solidFill>
              <a:schemeClr val="tx2"/>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8AB7B01-1E8D-AF4A-9E56-C6766B680169}"/>
              </a:ext>
            </a:extLst>
          </p:cNvPr>
          <p:cNvCxnSpPr>
            <a:cxnSpLocks/>
          </p:cNvCxnSpPr>
          <p:nvPr/>
        </p:nvCxnSpPr>
        <p:spPr>
          <a:xfrm flipH="1">
            <a:off x="5256010" y="3362008"/>
            <a:ext cx="721571" cy="546409"/>
          </a:xfrm>
          <a:prstGeom prst="straightConnector1">
            <a:avLst/>
          </a:prstGeom>
          <a:ln w="19050" cap="rnd">
            <a:solidFill>
              <a:schemeClr val="tx2"/>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D2D50FF-BE77-6747-BE53-1E86D94B22B4}"/>
              </a:ext>
            </a:extLst>
          </p:cNvPr>
          <p:cNvCxnSpPr>
            <a:cxnSpLocks/>
          </p:cNvCxnSpPr>
          <p:nvPr/>
        </p:nvCxnSpPr>
        <p:spPr>
          <a:xfrm flipH="1">
            <a:off x="5106256" y="3362008"/>
            <a:ext cx="871326" cy="871488"/>
          </a:xfrm>
          <a:prstGeom prst="straightConnector1">
            <a:avLst/>
          </a:prstGeom>
          <a:ln w="19050" cap="rnd">
            <a:solidFill>
              <a:schemeClr val="tx2"/>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6253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03524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24"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fr-FR" sz="340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3" name="Title 2"/>
          <p:cNvSpPr>
            <a:spLocks noGrp="1"/>
          </p:cNvSpPr>
          <p:nvPr>
            <p:ph type="title"/>
          </p:nvPr>
        </p:nvSpPr>
        <p:spPr>
          <a:xfrm>
            <a:off x="630000" y="622800"/>
            <a:ext cx="10933200" cy="941796"/>
          </a:xfrm>
        </p:spPr>
        <p:txBody>
          <a:bodyPr vert="horz"/>
          <a:lstStyle/>
          <a:p>
            <a:r>
              <a:rPr lang="fr-FR" u="sng" dirty="0">
                <a:solidFill>
                  <a:srgbClr val="03522D"/>
                </a:solidFill>
              </a:rPr>
              <a:t>Livrable 2 :</a:t>
            </a:r>
            <a:r>
              <a:rPr lang="fr-FR" dirty="0">
                <a:solidFill>
                  <a:srgbClr val="03522D"/>
                </a:solidFill>
              </a:rPr>
              <a:t> </a:t>
            </a:r>
            <a:r>
              <a:rPr lang="fr-FR" dirty="0"/>
              <a:t>Présentation de 7 planches max décrivant deux sujets</a:t>
            </a:r>
          </a:p>
        </p:txBody>
      </p:sp>
      <p:sp>
        <p:nvSpPr>
          <p:cNvPr id="47" name="ee4pContent1">
            <a:extLst>
              <a:ext uri="{FF2B5EF4-FFF2-40B4-BE49-F238E27FC236}">
                <a16:creationId xmlns:a16="http://schemas.microsoft.com/office/drawing/2014/main" id="{438E6D60-3698-B74F-96B4-3DE27534D76A}"/>
              </a:ext>
            </a:extLst>
          </p:cNvPr>
          <p:cNvSpPr txBox="1"/>
          <p:nvPr/>
        </p:nvSpPr>
        <p:spPr>
          <a:xfrm>
            <a:off x="909862" y="3945600"/>
            <a:ext cx="4073229" cy="102699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fr-FR" dirty="0">
                <a:latin typeface="+mn-lt"/>
              </a:rPr>
              <a:t>Description de l’approche et des modèles de prédiction de trafic routier</a:t>
            </a:r>
          </a:p>
        </p:txBody>
      </p:sp>
      <p:sp>
        <p:nvSpPr>
          <p:cNvPr id="48" name="ee4pContent2">
            <a:extLst>
              <a:ext uri="{FF2B5EF4-FFF2-40B4-BE49-F238E27FC236}">
                <a16:creationId xmlns:a16="http://schemas.microsoft.com/office/drawing/2014/main" id="{68C7C8D5-AADB-5B4E-A0EC-0B8C0148CDDC}"/>
              </a:ext>
            </a:extLst>
          </p:cNvPr>
          <p:cNvSpPr txBox="1"/>
          <p:nvPr/>
        </p:nvSpPr>
        <p:spPr>
          <a:xfrm>
            <a:off x="6848022" y="3945600"/>
            <a:ext cx="4073229" cy="109666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fr-FR" dirty="0"/>
              <a:t>Feuille de route pour la suite de la mission</a:t>
            </a:r>
            <a:endParaRPr lang="fr-FR" dirty="0">
              <a:latin typeface="+mn-lt"/>
            </a:endParaRPr>
          </a:p>
        </p:txBody>
      </p:sp>
      <p:grpSp>
        <p:nvGrpSpPr>
          <p:cNvPr id="51" name="bcgIcons_ArtificialIntelligence">
            <a:extLst>
              <a:ext uri="{FF2B5EF4-FFF2-40B4-BE49-F238E27FC236}">
                <a16:creationId xmlns:a16="http://schemas.microsoft.com/office/drawing/2014/main" id="{DA624292-D5D7-6A44-AE4B-9E62D85EE19F}"/>
              </a:ext>
            </a:extLst>
          </p:cNvPr>
          <p:cNvGrpSpPr>
            <a:grpSpLocks noChangeAspect="1"/>
          </p:cNvGrpSpPr>
          <p:nvPr/>
        </p:nvGrpSpPr>
        <p:grpSpPr bwMode="auto">
          <a:xfrm>
            <a:off x="2305022" y="2581347"/>
            <a:ext cx="1282909" cy="1284098"/>
            <a:chOff x="1682" y="0"/>
            <a:chExt cx="4316" cy="4320"/>
          </a:xfrm>
        </p:grpSpPr>
        <p:sp>
          <p:nvSpPr>
            <p:cNvPr id="52" name="AutoShape 39">
              <a:extLst>
                <a:ext uri="{FF2B5EF4-FFF2-40B4-BE49-F238E27FC236}">
                  <a16:creationId xmlns:a16="http://schemas.microsoft.com/office/drawing/2014/main" id="{8CA252E4-93F5-9542-8033-7666650683A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41">
              <a:extLst>
                <a:ext uri="{FF2B5EF4-FFF2-40B4-BE49-F238E27FC236}">
                  <a16:creationId xmlns:a16="http://schemas.microsoft.com/office/drawing/2014/main" id="{EA920EA9-0A87-184C-862F-B5C049B03DBC}"/>
                </a:ext>
              </a:extLst>
            </p:cNvPr>
            <p:cNvSpPr>
              <a:spLocks noEditPoints="1"/>
            </p:cNvSpPr>
            <p:nvPr/>
          </p:nvSpPr>
          <p:spPr bwMode="auto">
            <a:xfrm>
              <a:off x="2145" y="465"/>
              <a:ext cx="3387" cy="3390"/>
            </a:xfrm>
            <a:custGeom>
              <a:avLst/>
              <a:gdLst>
                <a:gd name="T0" fmla="*/ 258 w 1808"/>
                <a:gd name="T1" fmla="*/ 1528 h 1808"/>
                <a:gd name="T2" fmla="*/ 1528 w 1808"/>
                <a:gd name="T3" fmla="*/ 258 h 1808"/>
                <a:gd name="T4" fmla="*/ 1528 w 1808"/>
                <a:gd name="T5" fmla="*/ 1550 h 1808"/>
                <a:gd name="T6" fmla="*/ 1506 w 1808"/>
                <a:gd name="T7" fmla="*/ 302 h 1808"/>
                <a:gd name="T8" fmla="*/ 550 w 1808"/>
                <a:gd name="T9" fmla="*/ 180 h 1808"/>
                <a:gd name="T10" fmla="*/ 506 w 1808"/>
                <a:gd name="T11" fmla="*/ 22 h 1808"/>
                <a:gd name="T12" fmla="*/ 550 w 1808"/>
                <a:gd name="T13" fmla="*/ 180 h 1808"/>
                <a:gd name="T14" fmla="*/ 779 w 1808"/>
                <a:gd name="T15" fmla="*/ 0 h 1808"/>
                <a:gd name="T16" fmla="*/ 779 w 1808"/>
                <a:gd name="T17" fmla="*/ 202 h 1808"/>
                <a:gd name="T18" fmla="*/ 1051 w 1808"/>
                <a:gd name="T19" fmla="*/ 22 h 1808"/>
                <a:gd name="T20" fmla="*/ 1007 w 1808"/>
                <a:gd name="T21" fmla="*/ 180 h 1808"/>
                <a:gd name="T22" fmla="*/ 1302 w 1808"/>
                <a:gd name="T23" fmla="*/ 180 h 1808"/>
                <a:gd name="T24" fmla="*/ 1258 w 1808"/>
                <a:gd name="T25" fmla="*/ 22 h 1808"/>
                <a:gd name="T26" fmla="*/ 1302 w 1808"/>
                <a:gd name="T27" fmla="*/ 180 h 1808"/>
                <a:gd name="T28" fmla="*/ 528 w 1808"/>
                <a:gd name="T29" fmla="*/ 1606 h 1808"/>
                <a:gd name="T30" fmla="*/ 528 w 1808"/>
                <a:gd name="T31" fmla="*/ 1808 h 1808"/>
                <a:gd name="T32" fmla="*/ 801 w 1808"/>
                <a:gd name="T33" fmla="*/ 1628 h 1808"/>
                <a:gd name="T34" fmla="*/ 757 w 1808"/>
                <a:gd name="T35" fmla="*/ 1786 h 1808"/>
                <a:gd name="T36" fmla="*/ 1051 w 1808"/>
                <a:gd name="T37" fmla="*/ 1786 h 1808"/>
                <a:gd name="T38" fmla="*/ 1007 w 1808"/>
                <a:gd name="T39" fmla="*/ 1628 h 1808"/>
                <a:gd name="T40" fmla="*/ 1051 w 1808"/>
                <a:gd name="T41" fmla="*/ 1786 h 1808"/>
                <a:gd name="T42" fmla="*/ 1280 w 1808"/>
                <a:gd name="T43" fmla="*/ 1606 h 1808"/>
                <a:gd name="T44" fmla="*/ 1280 w 1808"/>
                <a:gd name="T45" fmla="*/ 1808 h 1808"/>
                <a:gd name="T46" fmla="*/ 1786 w 1808"/>
                <a:gd name="T47" fmla="*/ 506 h 1808"/>
                <a:gd name="T48" fmla="*/ 1628 w 1808"/>
                <a:gd name="T49" fmla="*/ 550 h 1808"/>
                <a:gd name="T50" fmla="*/ 1808 w 1808"/>
                <a:gd name="T51" fmla="*/ 779 h 1808"/>
                <a:gd name="T52" fmla="*/ 1606 w 1808"/>
                <a:gd name="T53" fmla="*/ 779 h 1808"/>
                <a:gd name="T54" fmla="*/ 1808 w 1808"/>
                <a:gd name="T55" fmla="*/ 779 h 1808"/>
                <a:gd name="T56" fmla="*/ 1628 w 1808"/>
                <a:gd name="T57" fmla="*/ 1007 h 1808"/>
                <a:gd name="T58" fmla="*/ 1786 w 1808"/>
                <a:gd name="T59" fmla="*/ 1051 h 1808"/>
                <a:gd name="T60" fmla="*/ 1786 w 1808"/>
                <a:gd name="T61" fmla="*/ 1258 h 1808"/>
                <a:gd name="T62" fmla="*/ 1628 w 1808"/>
                <a:gd name="T63" fmla="*/ 1302 h 1808"/>
                <a:gd name="T64" fmla="*/ 202 w 1808"/>
                <a:gd name="T65" fmla="*/ 528 h 1808"/>
                <a:gd name="T66" fmla="*/ 0 w 1808"/>
                <a:gd name="T67" fmla="*/ 528 h 1808"/>
                <a:gd name="T68" fmla="*/ 202 w 1808"/>
                <a:gd name="T69" fmla="*/ 528 h 1808"/>
                <a:gd name="T70" fmla="*/ 22 w 1808"/>
                <a:gd name="T71" fmla="*/ 757 h 1808"/>
                <a:gd name="T72" fmla="*/ 180 w 1808"/>
                <a:gd name="T73" fmla="*/ 801 h 1808"/>
                <a:gd name="T74" fmla="*/ 180 w 1808"/>
                <a:gd name="T75" fmla="*/ 1007 h 1808"/>
                <a:gd name="T76" fmla="*/ 22 w 1808"/>
                <a:gd name="T77" fmla="*/ 1051 h 1808"/>
                <a:gd name="T78" fmla="*/ 202 w 1808"/>
                <a:gd name="T79" fmla="*/ 1280 h 1808"/>
                <a:gd name="T80" fmla="*/ 0 w 1808"/>
                <a:gd name="T81" fmla="*/ 1280 h 1808"/>
                <a:gd name="T82" fmla="*/ 202 w 1808"/>
                <a:gd name="T83" fmla="*/ 1280 h 1808"/>
                <a:gd name="T84" fmla="*/ 1303 w 1808"/>
                <a:gd name="T85" fmla="*/ 611 h 1808"/>
                <a:gd name="T86" fmla="*/ 913 w 1808"/>
                <a:gd name="T87" fmla="*/ 448 h 1808"/>
                <a:gd name="T88" fmla="*/ 522 w 1808"/>
                <a:gd name="T89" fmla="*/ 611 h 1808"/>
                <a:gd name="T90" fmla="*/ 463 w 1808"/>
                <a:gd name="T91" fmla="*/ 996 h 1808"/>
                <a:gd name="T92" fmla="*/ 677 w 1808"/>
                <a:gd name="T93" fmla="*/ 1339 h 1808"/>
                <a:gd name="T94" fmla="*/ 1001 w 1808"/>
                <a:gd name="T95" fmla="*/ 1408 h 1808"/>
                <a:gd name="T96" fmla="*/ 1362 w 1808"/>
                <a:gd name="T97" fmla="*/ 996 h 1808"/>
                <a:gd name="T98" fmla="*/ 707 w 1808"/>
                <a:gd name="T99" fmla="*/ 1308 h 1808"/>
                <a:gd name="T100" fmla="*/ 548 w 1808"/>
                <a:gd name="T101" fmla="*/ 1126 h 1808"/>
                <a:gd name="T102" fmla="*/ 536 w 1808"/>
                <a:gd name="T103" fmla="*/ 862 h 1808"/>
                <a:gd name="T104" fmla="*/ 640 w 1808"/>
                <a:gd name="T105" fmla="*/ 581 h 1808"/>
                <a:gd name="T106" fmla="*/ 887 w 1808"/>
                <a:gd name="T107" fmla="*/ 485 h 1808"/>
                <a:gd name="T108" fmla="*/ 826 w 1808"/>
                <a:gd name="T109" fmla="*/ 1364 h 1808"/>
                <a:gd name="T110" fmla="*/ 1179 w 1808"/>
                <a:gd name="T111" fmla="*/ 1211 h 1808"/>
                <a:gd name="T112" fmla="*/ 935 w 1808"/>
                <a:gd name="T113" fmla="*/ 489 h 1808"/>
                <a:gd name="T114" fmla="*/ 1170 w 1808"/>
                <a:gd name="T115" fmla="*/ 563 h 1808"/>
                <a:gd name="T116" fmla="*/ 1314 w 1808"/>
                <a:gd name="T117" fmla="*/ 765 h 1808"/>
                <a:gd name="T118" fmla="*/ 1318 w 1808"/>
                <a:gd name="T119" fmla="*/ 996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moveTo>
                    <a:pt x="1333" y="873"/>
                  </a:moveTo>
                  <a:cubicBezTo>
                    <a:pt x="1350" y="840"/>
                    <a:pt x="1358" y="803"/>
                    <a:pt x="1358" y="765"/>
                  </a:cubicBezTo>
                  <a:cubicBezTo>
                    <a:pt x="1358" y="708"/>
                    <a:pt x="1339" y="654"/>
                    <a:pt x="1303" y="611"/>
                  </a:cubicBezTo>
                  <a:cubicBezTo>
                    <a:pt x="1278" y="581"/>
                    <a:pt x="1247" y="558"/>
                    <a:pt x="1211" y="544"/>
                  </a:cubicBezTo>
                  <a:cubicBezTo>
                    <a:pt x="1194" y="458"/>
                    <a:pt x="1121" y="396"/>
                    <a:pt x="1036" y="396"/>
                  </a:cubicBezTo>
                  <a:cubicBezTo>
                    <a:pt x="990" y="396"/>
                    <a:pt x="946" y="414"/>
                    <a:pt x="913" y="448"/>
                  </a:cubicBezTo>
                  <a:cubicBezTo>
                    <a:pt x="879" y="414"/>
                    <a:pt x="835" y="396"/>
                    <a:pt x="789" y="396"/>
                  </a:cubicBezTo>
                  <a:cubicBezTo>
                    <a:pt x="704" y="396"/>
                    <a:pt x="631" y="458"/>
                    <a:pt x="614" y="544"/>
                  </a:cubicBezTo>
                  <a:cubicBezTo>
                    <a:pt x="578" y="558"/>
                    <a:pt x="547" y="581"/>
                    <a:pt x="522" y="611"/>
                  </a:cubicBezTo>
                  <a:cubicBezTo>
                    <a:pt x="487" y="654"/>
                    <a:pt x="467" y="708"/>
                    <a:pt x="467" y="765"/>
                  </a:cubicBezTo>
                  <a:cubicBezTo>
                    <a:pt x="467" y="803"/>
                    <a:pt x="476" y="840"/>
                    <a:pt x="492" y="873"/>
                  </a:cubicBezTo>
                  <a:cubicBezTo>
                    <a:pt x="473" y="910"/>
                    <a:pt x="463" y="952"/>
                    <a:pt x="463" y="996"/>
                  </a:cubicBezTo>
                  <a:cubicBezTo>
                    <a:pt x="463" y="1053"/>
                    <a:pt x="480" y="1107"/>
                    <a:pt x="513" y="1152"/>
                  </a:cubicBezTo>
                  <a:cubicBezTo>
                    <a:pt x="537" y="1186"/>
                    <a:pt x="570" y="1214"/>
                    <a:pt x="607" y="1232"/>
                  </a:cubicBezTo>
                  <a:cubicBezTo>
                    <a:pt x="618" y="1270"/>
                    <a:pt x="643" y="1307"/>
                    <a:pt x="677" y="1339"/>
                  </a:cubicBezTo>
                  <a:cubicBezTo>
                    <a:pt x="723" y="1383"/>
                    <a:pt x="777" y="1408"/>
                    <a:pt x="826" y="1408"/>
                  </a:cubicBezTo>
                  <a:cubicBezTo>
                    <a:pt x="863" y="1408"/>
                    <a:pt x="895" y="1391"/>
                    <a:pt x="914" y="1363"/>
                  </a:cubicBezTo>
                  <a:cubicBezTo>
                    <a:pt x="934" y="1389"/>
                    <a:pt x="964" y="1408"/>
                    <a:pt x="1001" y="1408"/>
                  </a:cubicBezTo>
                  <a:cubicBezTo>
                    <a:pt x="1089" y="1408"/>
                    <a:pt x="1190" y="1325"/>
                    <a:pt x="1218" y="1232"/>
                  </a:cubicBezTo>
                  <a:cubicBezTo>
                    <a:pt x="1256" y="1214"/>
                    <a:pt x="1288" y="1186"/>
                    <a:pt x="1313" y="1152"/>
                  </a:cubicBezTo>
                  <a:cubicBezTo>
                    <a:pt x="1345" y="1107"/>
                    <a:pt x="1362" y="1053"/>
                    <a:pt x="1362" y="996"/>
                  </a:cubicBezTo>
                  <a:cubicBezTo>
                    <a:pt x="1362" y="952"/>
                    <a:pt x="1352" y="910"/>
                    <a:pt x="1333" y="873"/>
                  </a:cubicBezTo>
                  <a:close/>
                  <a:moveTo>
                    <a:pt x="826" y="1364"/>
                  </a:moveTo>
                  <a:cubicBezTo>
                    <a:pt x="788" y="1364"/>
                    <a:pt x="745" y="1343"/>
                    <a:pt x="707" y="1308"/>
                  </a:cubicBezTo>
                  <a:cubicBezTo>
                    <a:pt x="676" y="1278"/>
                    <a:pt x="655" y="1244"/>
                    <a:pt x="647" y="1211"/>
                  </a:cubicBezTo>
                  <a:cubicBezTo>
                    <a:pt x="645" y="1204"/>
                    <a:pt x="640" y="1199"/>
                    <a:pt x="634" y="1196"/>
                  </a:cubicBezTo>
                  <a:cubicBezTo>
                    <a:pt x="600" y="1181"/>
                    <a:pt x="570" y="1157"/>
                    <a:pt x="548" y="1126"/>
                  </a:cubicBezTo>
                  <a:cubicBezTo>
                    <a:pt x="521" y="1089"/>
                    <a:pt x="507" y="1043"/>
                    <a:pt x="507" y="996"/>
                  </a:cubicBezTo>
                  <a:cubicBezTo>
                    <a:pt x="507" y="956"/>
                    <a:pt x="517" y="917"/>
                    <a:pt x="536" y="884"/>
                  </a:cubicBezTo>
                  <a:cubicBezTo>
                    <a:pt x="540" y="877"/>
                    <a:pt x="540" y="869"/>
                    <a:pt x="536" y="862"/>
                  </a:cubicBezTo>
                  <a:cubicBezTo>
                    <a:pt x="520" y="833"/>
                    <a:pt x="511" y="799"/>
                    <a:pt x="511" y="765"/>
                  </a:cubicBezTo>
                  <a:cubicBezTo>
                    <a:pt x="511" y="719"/>
                    <a:pt x="527" y="674"/>
                    <a:pt x="556" y="639"/>
                  </a:cubicBezTo>
                  <a:cubicBezTo>
                    <a:pt x="578" y="611"/>
                    <a:pt x="607" y="592"/>
                    <a:pt x="640" y="581"/>
                  </a:cubicBezTo>
                  <a:cubicBezTo>
                    <a:pt x="648" y="579"/>
                    <a:pt x="654" y="572"/>
                    <a:pt x="655" y="563"/>
                  </a:cubicBezTo>
                  <a:cubicBezTo>
                    <a:pt x="664" y="493"/>
                    <a:pt x="722" y="440"/>
                    <a:pt x="789" y="440"/>
                  </a:cubicBezTo>
                  <a:cubicBezTo>
                    <a:pt x="826" y="440"/>
                    <a:pt x="862" y="456"/>
                    <a:pt x="887" y="485"/>
                  </a:cubicBezTo>
                  <a:cubicBezTo>
                    <a:pt x="891" y="489"/>
                    <a:pt x="891" y="489"/>
                    <a:pt x="891" y="489"/>
                  </a:cubicBezTo>
                  <a:cubicBezTo>
                    <a:pt x="891" y="1301"/>
                    <a:pt x="891" y="1301"/>
                    <a:pt x="891" y="1301"/>
                  </a:cubicBezTo>
                  <a:cubicBezTo>
                    <a:pt x="887" y="1339"/>
                    <a:pt x="861" y="1364"/>
                    <a:pt x="826" y="1364"/>
                  </a:cubicBezTo>
                  <a:close/>
                  <a:moveTo>
                    <a:pt x="1277" y="1126"/>
                  </a:moveTo>
                  <a:cubicBezTo>
                    <a:pt x="1255" y="1157"/>
                    <a:pt x="1225" y="1181"/>
                    <a:pt x="1191" y="1196"/>
                  </a:cubicBezTo>
                  <a:cubicBezTo>
                    <a:pt x="1185" y="1199"/>
                    <a:pt x="1180" y="1204"/>
                    <a:pt x="1179" y="1211"/>
                  </a:cubicBezTo>
                  <a:cubicBezTo>
                    <a:pt x="1160" y="1288"/>
                    <a:pt x="1072" y="1364"/>
                    <a:pt x="1001" y="1364"/>
                  </a:cubicBezTo>
                  <a:cubicBezTo>
                    <a:pt x="965" y="1364"/>
                    <a:pt x="938" y="1331"/>
                    <a:pt x="935" y="1300"/>
                  </a:cubicBezTo>
                  <a:cubicBezTo>
                    <a:pt x="935" y="489"/>
                    <a:pt x="935" y="489"/>
                    <a:pt x="935" y="489"/>
                  </a:cubicBezTo>
                  <a:cubicBezTo>
                    <a:pt x="938" y="485"/>
                    <a:pt x="938" y="485"/>
                    <a:pt x="938" y="485"/>
                  </a:cubicBezTo>
                  <a:cubicBezTo>
                    <a:pt x="963" y="456"/>
                    <a:pt x="999" y="440"/>
                    <a:pt x="1036" y="440"/>
                  </a:cubicBezTo>
                  <a:cubicBezTo>
                    <a:pt x="1103" y="440"/>
                    <a:pt x="1161" y="493"/>
                    <a:pt x="1170" y="563"/>
                  </a:cubicBezTo>
                  <a:cubicBezTo>
                    <a:pt x="1171" y="572"/>
                    <a:pt x="1177" y="579"/>
                    <a:pt x="1185" y="581"/>
                  </a:cubicBezTo>
                  <a:cubicBezTo>
                    <a:pt x="1218" y="592"/>
                    <a:pt x="1247" y="611"/>
                    <a:pt x="1269" y="639"/>
                  </a:cubicBezTo>
                  <a:cubicBezTo>
                    <a:pt x="1298" y="674"/>
                    <a:pt x="1314" y="719"/>
                    <a:pt x="1314" y="765"/>
                  </a:cubicBezTo>
                  <a:cubicBezTo>
                    <a:pt x="1314" y="799"/>
                    <a:pt x="1305" y="833"/>
                    <a:pt x="1289" y="862"/>
                  </a:cubicBezTo>
                  <a:cubicBezTo>
                    <a:pt x="1285" y="869"/>
                    <a:pt x="1285" y="877"/>
                    <a:pt x="1289" y="884"/>
                  </a:cubicBezTo>
                  <a:cubicBezTo>
                    <a:pt x="1308" y="917"/>
                    <a:pt x="1318" y="956"/>
                    <a:pt x="1318" y="996"/>
                  </a:cubicBezTo>
                  <a:cubicBezTo>
                    <a:pt x="1318" y="1043"/>
                    <a:pt x="1304" y="1089"/>
                    <a:pt x="1277" y="11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42">
              <a:extLst>
                <a:ext uri="{FF2B5EF4-FFF2-40B4-BE49-F238E27FC236}">
                  <a16:creationId xmlns:a16="http://schemas.microsoft.com/office/drawing/2014/main" id="{672A92A6-401A-F14D-94B5-980B200FB959}"/>
                </a:ext>
              </a:extLst>
            </p:cNvPr>
            <p:cNvSpPr>
              <a:spLocks noEditPoints="1"/>
            </p:cNvSpPr>
            <p:nvPr/>
          </p:nvSpPr>
          <p:spPr bwMode="auto">
            <a:xfrm>
              <a:off x="3177" y="1373"/>
              <a:ext cx="1354" cy="1567"/>
            </a:xfrm>
            <a:custGeom>
              <a:avLst/>
              <a:gdLst>
                <a:gd name="T0" fmla="*/ 296 w 723"/>
                <a:gd name="T1" fmla="*/ 815 h 836"/>
                <a:gd name="T2" fmla="*/ 186 w 723"/>
                <a:gd name="T3" fmla="*/ 792 h 836"/>
                <a:gd name="T4" fmla="*/ 138 w 723"/>
                <a:gd name="T5" fmla="*/ 715 h 836"/>
                <a:gd name="T6" fmla="*/ 186 w 723"/>
                <a:gd name="T7" fmla="*/ 695 h 836"/>
                <a:gd name="T8" fmla="*/ 8 w 723"/>
                <a:gd name="T9" fmla="*/ 565 h 836"/>
                <a:gd name="T10" fmla="*/ 23 w 723"/>
                <a:gd name="T11" fmla="*/ 422 h 836"/>
                <a:gd name="T12" fmla="*/ 86 w 723"/>
                <a:gd name="T13" fmla="*/ 362 h 836"/>
                <a:gd name="T14" fmla="*/ 151 w 723"/>
                <a:gd name="T15" fmla="*/ 439 h 836"/>
                <a:gd name="T16" fmla="*/ 163 w 723"/>
                <a:gd name="T17" fmla="*/ 399 h 836"/>
                <a:gd name="T18" fmla="*/ 133 w 723"/>
                <a:gd name="T19" fmla="*/ 256 h 836"/>
                <a:gd name="T20" fmla="*/ 83 w 723"/>
                <a:gd name="T21" fmla="*/ 315 h 836"/>
                <a:gd name="T22" fmla="*/ 4 w 723"/>
                <a:gd name="T23" fmla="*/ 281 h 836"/>
                <a:gd name="T24" fmla="*/ 102 w 723"/>
                <a:gd name="T25" fmla="*/ 139 h 836"/>
                <a:gd name="T26" fmla="*/ 145 w 723"/>
                <a:gd name="T27" fmla="*/ 127 h 836"/>
                <a:gd name="T28" fmla="*/ 254 w 723"/>
                <a:gd name="T29" fmla="*/ 139 h 836"/>
                <a:gd name="T30" fmla="*/ 148 w 723"/>
                <a:gd name="T31" fmla="*/ 83 h 836"/>
                <a:gd name="T32" fmla="*/ 296 w 723"/>
                <a:gd name="T33" fmla="*/ 22 h 836"/>
                <a:gd name="T34" fmla="*/ 281 w 723"/>
                <a:gd name="T35" fmla="*/ 529 h 836"/>
                <a:gd name="T36" fmla="*/ 127 w 723"/>
                <a:gd name="T37" fmla="*/ 575 h 836"/>
                <a:gd name="T38" fmla="*/ 193 w 723"/>
                <a:gd name="T39" fmla="*/ 611 h 836"/>
                <a:gd name="T40" fmla="*/ 545 w 723"/>
                <a:gd name="T41" fmla="*/ 732 h 836"/>
                <a:gd name="T42" fmla="*/ 545 w 723"/>
                <a:gd name="T43" fmla="*/ 688 h 836"/>
                <a:gd name="T44" fmla="*/ 623 w 723"/>
                <a:gd name="T45" fmla="*/ 672 h 836"/>
                <a:gd name="T46" fmla="*/ 723 w 723"/>
                <a:gd name="T47" fmla="*/ 512 h 836"/>
                <a:gd name="T48" fmla="*/ 589 w 723"/>
                <a:gd name="T49" fmla="*/ 468 h 836"/>
                <a:gd name="T50" fmla="*/ 491 w 723"/>
                <a:gd name="T51" fmla="*/ 534 h 836"/>
                <a:gd name="T52" fmla="*/ 466 w 723"/>
                <a:gd name="T53" fmla="*/ 515 h 836"/>
                <a:gd name="T54" fmla="*/ 562 w 723"/>
                <a:gd name="T55" fmla="*/ 390 h 836"/>
                <a:gd name="T56" fmla="*/ 606 w 723"/>
                <a:gd name="T57" fmla="*/ 384 h 836"/>
                <a:gd name="T58" fmla="*/ 683 w 723"/>
                <a:gd name="T59" fmla="*/ 386 h 836"/>
                <a:gd name="T60" fmla="*/ 719 w 723"/>
                <a:gd name="T61" fmla="*/ 281 h 836"/>
                <a:gd name="T62" fmla="*/ 621 w 723"/>
                <a:gd name="T63" fmla="*/ 139 h 836"/>
                <a:gd name="T64" fmla="*/ 585 w 723"/>
                <a:gd name="T65" fmla="*/ 132 h 836"/>
                <a:gd name="T66" fmla="*/ 483 w 723"/>
                <a:gd name="T67" fmla="*/ 142 h 836"/>
                <a:gd name="T68" fmla="*/ 576 w 723"/>
                <a:gd name="T69" fmla="*/ 88 h 836"/>
                <a:gd name="T70" fmla="*/ 485 w 723"/>
                <a:gd name="T71" fmla="*/ 0 h 836"/>
                <a:gd name="T72" fmla="*/ 428 w 723"/>
                <a:gd name="T73" fmla="*/ 239 h 836"/>
                <a:gd name="T74" fmla="*/ 595 w 723"/>
                <a:gd name="T75" fmla="*/ 241 h 836"/>
                <a:gd name="T76" fmla="*/ 440 w 723"/>
                <a:gd name="T77" fmla="*/ 287 h 836"/>
                <a:gd name="T78" fmla="*/ 428 w 723"/>
                <a:gd name="T79" fmla="*/ 813 h 836"/>
                <a:gd name="T80" fmla="*/ 581 w 723"/>
                <a:gd name="T81" fmla="*/ 72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3" h="836">
                  <a:moveTo>
                    <a:pt x="296" y="575"/>
                  </a:moveTo>
                  <a:cubicBezTo>
                    <a:pt x="296" y="815"/>
                    <a:pt x="296" y="815"/>
                    <a:pt x="296" y="815"/>
                  </a:cubicBezTo>
                  <a:cubicBezTo>
                    <a:pt x="294" y="825"/>
                    <a:pt x="290" y="836"/>
                    <a:pt x="275" y="836"/>
                  </a:cubicBezTo>
                  <a:cubicBezTo>
                    <a:pt x="249" y="836"/>
                    <a:pt x="215" y="819"/>
                    <a:pt x="186" y="792"/>
                  </a:cubicBezTo>
                  <a:cubicBezTo>
                    <a:pt x="162" y="768"/>
                    <a:pt x="144" y="741"/>
                    <a:pt x="138" y="716"/>
                  </a:cubicBezTo>
                  <a:cubicBezTo>
                    <a:pt x="138" y="715"/>
                    <a:pt x="138" y="715"/>
                    <a:pt x="138" y="715"/>
                  </a:cubicBezTo>
                  <a:cubicBezTo>
                    <a:pt x="146" y="716"/>
                    <a:pt x="155" y="717"/>
                    <a:pt x="164" y="717"/>
                  </a:cubicBezTo>
                  <a:cubicBezTo>
                    <a:pt x="176" y="717"/>
                    <a:pt x="186" y="707"/>
                    <a:pt x="186" y="695"/>
                  </a:cubicBezTo>
                  <a:cubicBezTo>
                    <a:pt x="186" y="683"/>
                    <a:pt x="176" y="673"/>
                    <a:pt x="164" y="673"/>
                  </a:cubicBezTo>
                  <a:cubicBezTo>
                    <a:pt x="92" y="673"/>
                    <a:pt x="31" y="628"/>
                    <a:pt x="8" y="565"/>
                  </a:cubicBezTo>
                  <a:cubicBezTo>
                    <a:pt x="2" y="548"/>
                    <a:pt x="0" y="530"/>
                    <a:pt x="0" y="512"/>
                  </a:cubicBezTo>
                  <a:cubicBezTo>
                    <a:pt x="0" y="479"/>
                    <a:pt x="8" y="449"/>
                    <a:pt x="23" y="422"/>
                  </a:cubicBezTo>
                  <a:cubicBezTo>
                    <a:pt x="30" y="410"/>
                    <a:pt x="30" y="410"/>
                    <a:pt x="30" y="410"/>
                  </a:cubicBezTo>
                  <a:cubicBezTo>
                    <a:pt x="45" y="390"/>
                    <a:pt x="64" y="374"/>
                    <a:pt x="86" y="362"/>
                  </a:cubicBezTo>
                  <a:cubicBezTo>
                    <a:pt x="93" y="391"/>
                    <a:pt x="111" y="418"/>
                    <a:pt x="139" y="435"/>
                  </a:cubicBezTo>
                  <a:cubicBezTo>
                    <a:pt x="142" y="438"/>
                    <a:pt x="146" y="439"/>
                    <a:pt x="151" y="439"/>
                  </a:cubicBezTo>
                  <a:cubicBezTo>
                    <a:pt x="158" y="439"/>
                    <a:pt x="165" y="435"/>
                    <a:pt x="169" y="429"/>
                  </a:cubicBezTo>
                  <a:cubicBezTo>
                    <a:pt x="176" y="419"/>
                    <a:pt x="173" y="405"/>
                    <a:pt x="163" y="399"/>
                  </a:cubicBezTo>
                  <a:cubicBezTo>
                    <a:pt x="125" y="374"/>
                    <a:pt x="115" y="324"/>
                    <a:pt x="139" y="287"/>
                  </a:cubicBezTo>
                  <a:cubicBezTo>
                    <a:pt x="146" y="276"/>
                    <a:pt x="143" y="263"/>
                    <a:pt x="133" y="256"/>
                  </a:cubicBezTo>
                  <a:cubicBezTo>
                    <a:pt x="122" y="250"/>
                    <a:pt x="109" y="252"/>
                    <a:pt x="102" y="263"/>
                  </a:cubicBezTo>
                  <a:cubicBezTo>
                    <a:pt x="91" y="279"/>
                    <a:pt x="85" y="297"/>
                    <a:pt x="83" y="315"/>
                  </a:cubicBezTo>
                  <a:cubicBezTo>
                    <a:pt x="60" y="324"/>
                    <a:pt x="39" y="337"/>
                    <a:pt x="22" y="354"/>
                  </a:cubicBezTo>
                  <a:cubicBezTo>
                    <a:pt x="10" y="331"/>
                    <a:pt x="4" y="307"/>
                    <a:pt x="4" y="281"/>
                  </a:cubicBezTo>
                  <a:cubicBezTo>
                    <a:pt x="4" y="245"/>
                    <a:pt x="16" y="210"/>
                    <a:pt x="39" y="183"/>
                  </a:cubicBezTo>
                  <a:cubicBezTo>
                    <a:pt x="56" y="162"/>
                    <a:pt x="78" y="147"/>
                    <a:pt x="102" y="139"/>
                  </a:cubicBezTo>
                  <a:cubicBezTo>
                    <a:pt x="140" y="127"/>
                    <a:pt x="140" y="127"/>
                    <a:pt x="140" y="127"/>
                  </a:cubicBezTo>
                  <a:cubicBezTo>
                    <a:pt x="142" y="127"/>
                    <a:pt x="143" y="127"/>
                    <a:pt x="145" y="127"/>
                  </a:cubicBezTo>
                  <a:cubicBezTo>
                    <a:pt x="173" y="127"/>
                    <a:pt x="200" y="134"/>
                    <a:pt x="224" y="148"/>
                  </a:cubicBezTo>
                  <a:cubicBezTo>
                    <a:pt x="234" y="154"/>
                    <a:pt x="248" y="150"/>
                    <a:pt x="254" y="139"/>
                  </a:cubicBezTo>
                  <a:cubicBezTo>
                    <a:pt x="260" y="129"/>
                    <a:pt x="256" y="115"/>
                    <a:pt x="245" y="109"/>
                  </a:cubicBezTo>
                  <a:cubicBezTo>
                    <a:pt x="216" y="93"/>
                    <a:pt x="182" y="84"/>
                    <a:pt x="148" y="83"/>
                  </a:cubicBezTo>
                  <a:cubicBezTo>
                    <a:pt x="155" y="35"/>
                    <a:pt x="193" y="0"/>
                    <a:pt x="238" y="0"/>
                  </a:cubicBezTo>
                  <a:cubicBezTo>
                    <a:pt x="259" y="0"/>
                    <a:pt x="279" y="8"/>
                    <a:pt x="296" y="22"/>
                  </a:cubicBezTo>
                  <a:cubicBezTo>
                    <a:pt x="296" y="511"/>
                    <a:pt x="296" y="511"/>
                    <a:pt x="296" y="511"/>
                  </a:cubicBezTo>
                  <a:cubicBezTo>
                    <a:pt x="291" y="517"/>
                    <a:pt x="287" y="523"/>
                    <a:pt x="281" y="529"/>
                  </a:cubicBezTo>
                  <a:cubicBezTo>
                    <a:pt x="249" y="563"/>
                    <a:pt x="199" y="576"/>
                    <a:pt x="154" y="561"/>
                  </a:cubicBezTo>
                  <a:cubicBezTo>
                    <a:pt x="143" y="557"/>
                    <a:pt x="130" y="563"/>
                    <a:pt x="127" y="575"/>
                  </a:cubicBezTo>
                  <a:cubicBezTo>
                    <a:pt x="123" y="586"/>
                    <a:pt x="129" y="598"/>
                    <a:pt x="140" y="602"/>
                  </a:cubicBezTo>
                  <a:cubicBezTo>
                    <a:pt x="158" y="608"/>
                    <a:pt x="175" y="611"/>
                    <a:pt x="193" y="611"/>
                  </a:cubicBezTo>
                  <a:cubicBezTo>
                    <a:pt x="230" y="611"/>
                    <a:pt x="266" y="598"/>
                    <a:pt x="296" y="575"/>
                  </a:cubicBezTo>
                  <a:close/>
                  <a:moveTo>
                    <a:pt x="545" y="732"/>
                  </a:moveTo>
                  <a:cubicBezTo>
                    <a:pt x="532" y="732"/>
                    <a:pt x="523" y="722"/>
                    <a:pt x="523" y="710"/>
                  </a:cubicBezTo>
                  <a:cubicBezTo>
                    <a:pt x="523" y="698"/>
                    <a:pt x="532" y="688"/>
                    <a:pt x="545" y="688"/>
                  </a:cubicBezTo>
                  <a:cubicBezTo>
                    <a:pt x="569" y="688"/>
                    <a:pt x="593" y="683"/>
                    <a:pt x="615" y="675"/>
                  </a:cubicBezTo>
                  <a:cubicBezTo>
                    <a:pt x="623" y="672"/>
                    <a:pt x="623" y="672"/>
                    <a:pt x="623" y="672"/>
                  </a:cubicBezTo>
                  <a:cubicBezTo>
                    <a:pt x="649" y="660"/>
                    <a:pt x="673" y="641"/>
                    <a:pt x="690" y="617"/>
                  </a:cubicBezTo>
                  <a:cubicBezTo>
                    <a:pt x="712" y="586"/>
                    <a:pt x="723" y="550"/>
                    <a:pt x="723" y="512"/>
                  </a:cubicBezTo>
                  <a:cubicBezTo>
                    <a:pt x="723" y="481"/>
                    <a:pt x="716" y="453"/>
                    <a:pt x="703" y="427"/>
                  </a:cubicBezTo>
                  <a:cubicBezTo>
                    <a:pt x="671" y="452"/>
                    <a:pt x="632" y="467"/>
                    <a:pt x="589" y="468"/>
                  </a:cubicBezTo>
                  <a:cubicBezTo>
                    <a:pt x="586" y="473"/>
                    <a:pt x="583" y="478"/>
                    <a:pt x="579" y="483"/>
                  </a:cubicBezTo>
                  <a:cubicBezTo>
                    <a:pt x="558" y="511"/>
                    <a:pt x="526" y="529"/>
                    <a:pt x="491" y="534"/>
                  </a:cubicBezTo>
                  <a:cubicBezTo>
                    <a:pt x="490" y="534"/>
                    <a:pt x="489" y="534"/>
                    <a:pt x="488" y="534"/>
                  </a:cubicBezTo>
                  <a:cubicBezTo>
                    <a:pt x="477" y="534"/>
                    <a:pt x="468" y="526"/>
                    <a:pt x="466" y="515"/>
                  </a:cubicBezTo>
                  <a:cubicBezTo>
                    <a:pt x="465" y="503"/>
                    <a:pt x="473" y="492"/>
                    <a:pt x="485" y="490"/>
                  </a:cubicBezTo>
                  <a:cubicBezTo>
                    <a:pt x="534" y="484"/>
                    <a:pt x="569" y="439"/>
                    <a:pt x="562" y="390"/>
                  </a:cubicBezTo>
                  <a:cubicBezTo>
                    <a:pt x="561" y="378"/>
                    <a:pt x="569" y="367"/>
                    <a:pt x="581" y="365"/>
                  </a:cubicBezTo>
                  <a:cubicBezTo>
                    <a:pt x="594" y="363"/>
                    <a:pt x="605" y="372"/>
                    <a:pt x="606" y="384"/>
                  </a:cubicBezTo>
                  <a:cubicBezTo>
                    <a:pt x="608" y="397"/>
                    <a:pt x="608" y="410"/>
                    <a:pt x="606" y="423"/>
                  </a:cubicBezTo>
                  <a:cubicBezTo>
                    <a:pt x="635" y="419"/>
                    <a:pt x="662" y="405"/>
                    <a:pt x="683" y="386"/>
                  </a:cubicBezTo>
                  <a:cubicBezTo>
                    <a:pt x="700" y="357"/>
                    <a:pt x="700" y="357"/>
                    <a:pt x="700" y="357"/>
                  </a:cubicBezTo>
                  <a:cubicBezTo>
                    <a:pt x="713" y="334"/>
                    <a:pt x="719" y="308"/>
                    <a:pt x="719" y="281"/>
                  </a:cubicBezTo>
                  <a:cubicBezTo>
                    <a:pt x="719" y="245"/>
                    <a:pt x="707" y="210"/>
                    <a:pt x="684" y="183"/>
                  </a:cubicBezTo>
                  <a:cubicBezTo>
                    <a:pt x="667" y="162"/>
                    <a:pt x="645" y="147"/>
                    <a:pt x="621" y="139"/>
                  </a:cubicBezTo>
                  <a:cubicBezTo>
                    <a:pt x="600" y="132"/>
                    <a:pt x="600" y="132"/>
                    <a:pt x="600" y="132"/>
                  </a:cubicBezTo>
                  <a:cubicBezTo>
                    <a:pt x="595" y="132"/>
                    <a:pt x="590" y="132"/>
                    <a:pt x="585" y="132"/>
                  </a:cubicBezTo>
                  <a:cubicBezTo>
                    <a:pt x="560" y="132"/>
                    <a:pt x="535" y="138"/>
                    <a:pt x="513" y="151"/>
                  </a:cubicBezTo>
                  <a:cubicBezTo>
                    <a:pt x="502" y="157"/>
                    <a:pt x="489" y="153"/>
                    <a:pt x="483" y="142"/>
                  </a:cubicBezTo>
                  <a:cubicBezTo>
                    <a:pt x="477" y="132"/>
                    <a:pt x="481" y="118"/>
                    <a:pt x="491" y="112"/>
                  </a:cubicBezTo>
                  <a:cubicBezTo>
                    <a:pt x="517" y="98"/>
                    <a:pt x="546" y="89"/>
                    <a:pt x="576" y="88"/>
                  </a:cubicBezTo>
                  <a:cubicBezTo>
                    <a:pt x="575" y="85"/>
                    <a:pt x="575" y="85"/>
                    <a:pt x="575" y="85"/>
                  </a:cubicBezTo>
                  <a:cubicBezTo>
                    <a:pt x="569" y="36"/>
                    <a:pt x="530" y="0"/>
                    <a:pt x="485" y="0"/>
                  </a:cubicBezTo>
                  <a:cubicBezTo>
                    <a:pt x="464" y="0"/>
                    <a:pt x="444" y="8"/>
                    <a:pt x="428" y="22"/>
                  </a:cubicBezTo>
                  <a:cubicBezTo>
                    <a:pt x="428" y="239"/>
                    <a:pt x="428" y="239"/>
                    <a:pt x="428" y="239"/>
                  </a:cubicBezTo>
                  <a:cubicBezTo>
                    <a:pt x="471" y="206"/>
                    <a:pt x="529" y="196"/>
                    <a:pt x="581" y="213"/>
                  </a:cubicBezTo>
                  <a:cubicBezTo>
                    <a:pt x="593" y="217"/>
                    <a:pt x="599" y="230"/>
                    <a:pt x="595" y="241"/>
                  </a:cubicBezTo>
                  <a:cubicBezTo>
                    <a:pt x="591" y="253"/>
                    <a:pt x="579" y="259"/>
                    <a:pt x="567" y="255"/>
                  </a:cubicBezTo>
                  <a:cubicBezTo>
                    <a:pt x="523" y="240"/>
                    <a:pt x="473" y="253"/>
                    <a:pt x="440" y="287"/>
                  </a:cubicBezTo>
                  <a:cubicBezTo>
                    <a:pt x="436" y="292"/>
                    <a:pt x="431" y="297"/>
                    <a:pt x="428" y="303"/>
                  </a:cubicBezTo>
                  <a:cubicBezTo>
                    <a:pt x="428" y="813"/>
                    <a:pt x="428" y="813"/>
                    <a:pt x="428" y="813"/>
                  </a:cubicBezTo>
                  <a:cubicBezTo>
                    <a:pt x="430" y="823"/>
                    <a:pt x="439" y="836"/>
                    <a:pt x="450" y="836"/>
                  </a:cubicBezTo>
                  <a:cubicBezTo>
                    <a:pt x="497" y="836"/>
                    <a:pt x="561" y="782"/>
                    <a:pt x="581" y="729"/>
                  </a:cubicBezTo>
                  <a:cubicBezTo>
                    <a:pt x="569" y="731"/>
                    <a:pt x="557" y="732"/>
                    <a:pt x="545" y="73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55" name="bcgIcons_StraightRoad">
            <a:extLst>
              <a:ext uri="{FF2B5EF4-FFF2-40B4-BE49-F238E27FC236}">
                <a16:creationId xmlns:a16="http://schemas.microsoft.com/office/drawing/2014/main" id="{F2579087-A198-EA4A-8D46-558D273A58BB}"/>
              </a:ext>
            </a:extLst>
          </p:cNvPr>
          <p:cNvGrpSpPr>
            <a:grpSpLocks noChangeAspect="1"/>
          </p:cNvGrpSpPr>
          <p:nvPr/>
        </p:nvGrpSpPr>
        <p:grpSpPr bwMode="auto">
          <a:xfrm>
            <a:off x="8243182" y="2581347"/>
            <a:ext cx="1282909" cy="1284098"/>
            <a:chOff x="1682" y="0"/>
            <a:chExt cx="4316" cy="4320"/>
          </a:xfrm>
        </p:grpSpPr>
        <p:sp>
          <p:nvSpPr>
            <p:cNvPr id="56" name="AutoShape 8">
              <a:extLst>
                <a:ext uri="{FF2B5EF4-FFF2-40B4-BE49-F238E27FC236}">
                  <a16:creationId xmlns:a16="http://schemas.microsoft.com/office/drawing/2014/main" id="{C1BE1A58-58C9-114C-906F-B759468CBE6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7" name="Freeform 10">
              <a:extLst>
                <a:ext uri="{FF2B5EF4-FFF2-40B4-BE49-F238E27FC236}">
                  <a16:creationId xmlns:a16="http://schemas.microsoft.com/office/drawing/2014/main" id="{9A28AA4D-E659-BE4C-A38C-F7F4A1A5DFDB}"/>
                </a:ext>
              </a:extLst>
            </p:cNvPr>
            <p:cNvSpPr>
              <a:spLocks noEditPoints="1"/>
            </p:cNvSpPr>
            <p:nvPr/>
          </p:nvSpPr>
          <p:spPr bwMode="auto">
            <a:xfrm>
              <a:off x="2231" y="1044"/>
              <a:ext cx="3227" cy="2205"/>
            </a:xfrm>
            <a:custGeom>
              <a:avLst/>
              <a:gdLst>
                <a:gd name="T0" fmla="*/ 963 w 1723"/>
                <a:gd name="T1" fmla="*/ 0 h 1176"/>
                <a:gd name="T2" fmla="*/ 760 w 1723"/>
                <a:gd name="T3" fmla="*/ 0 h 1176"/>
                <a:gd name="T4" fmla="*/ 0 w 1723"/>
                <a:gd name="T5" fmla="*/ 1176 h 1176"/>
                <a:gd name="T6" fmla="*/ 1723 w 1723"/>
                <a:gd name="T7" fmla="*/ 1176 h 1176"/>
                <a:gd name="T8" fmla="*/ 963 w 1723"/>
                <a:gd name="T9" fmla="*/ 0 h 1176"/>
                <a:gd name="T10" fmla="*/ 883 w 1723"/>
                <a:gd name="T11" fmla="*/ 1054 h 1176"/>
                <a:gd name="T12" fmla="*/ 861 w 1723"/>
                <a:gd name="T13" fmla="*/ 1076 h 1176"/>
                <a:gd name="T14" fmla="*/ 839 w 1723"/>
                <a:gd name="T15" fmla="*/ 1054 h 1176"/>
                <a:gd name="T16" fmla="*/ 839 w 1723"/>
                <a:gd name="T17" fmla="*/ 727 h 1176"/>
                <a:gd name="T18" fmla="*/ 861 w 1723"/>
                <a:gd name="T19" fmla="*/ 705 h 1176"/>
                <a:gd name="T20" fmla="*/ 883 w 1723"/>
                <a:gd name="T21" fmla="*/ 727 h 1176"/>
                <a:gd name="T22" fmla="*/ 883 w 1723"/>
                <a:gd name="T23" fmla="*/ 1054 h 1176"/>
                <a:gd name="T24" fmla="*/ 883 w 1723"/>
                <a:gd name="T25" fmla="*/ 555 h 1176"/>
                <a:gd name="T26" fmla="*/ 861 w 1723"/>
                <a:gd name="T27" fmla="*/ 577 h 1176"/>
                <a:gd name="T28" fmla="*/ 839 w 1723"/>
                <a:gd name="T29" fmla="*/ 555 h 1176"/>
                <a:gd name="T30" fmla="*/ 839 w 1723"/>
                <a:gd name="T31" fmla="*/ 314 h 1176"/>
                <a:gd name="T32" fmla="*/ 861 w 1723"/>
                <a:gd name="T33" fmla="*/ 292 h 1176"/>
                <a:gd name="T34" fmla="*/ 883 w 1723"/>
                <a:gd name="T35" fmla="*/ 314 h 1176"/>
                <a:gd name="T36" fmla="*/ 883 w 1723"/>
                <a:gd name="T37" fmla="*/ 555 h 1176"/>
                <a:gd name="T38" fmla="*/ 883 w 1723"/>
                <a:gd name="T39" fmla="*/ 177 h 1176"/>
                <a:gd name="T40" fmla="*/ 861 w 1723"/>
                <a:gd name="T41" fmla="*/ 199 h 1176"/>
                <a:gd name="T42" fmla="*/ 839 w 1723"/>
                <a:gd name="T43" fmla="*/ 177 h 1176"/>
                <a:gd name="T44" fmla="*/ 839 w 1723"/>
                <a:gd name="T45" fmla="*/ 50 h 1176"/>
                <a:gd name="T46" fmla="*/ 861 w 1723"/>
                <a:gd name="T47" fmla="*/ 28 h 1176"/>
                <a:gd name="T48" fmla="*/ 883 w 1723"/>
                <a:gd name="T49" fmla="*/ 50 h 1176"/>
                <a:gd name="T50" fmla="*/ 883 w 1723"/>
                <a:gd name="T51" fmla="*/ 177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3" h="1176">
                  <a:moveTo>
                    <a:pt x="963" y="0"/>
                  </a:moveTo>
                  <a:cubicBezTo>
                    <a:pt x="760" y="0"/>
                    <a:pt x="760" y="0"/>
                    <a:pt x="760" y="0"/>
                  </a:cubicBezTo>
                  <a:cubicBezTo>
                    <a:pt x="0" y="1176"/>
                    <a:pt x="0" y="1176"/>
                    <a:pt x="0" y="1176"/>
                  </a:cubicBezTo>
                  <a:cubicBezTo>
                    <a:pt x="1723" y="1176"/>
                    <a:pt x="1723" y="1176"/>
                    <a:pt x="1723" y="1176"/>
                  </a:cubicBezTo>
                  <a:lnTo>
                    <a:pt x="963" y="0"/>
                  </a:lnTo>
                  <a:close/>
                  <a:moveTo>
                    <a:pt x="883" y="1054"/>
                  </a:moveTo>
                  <a:cubicBezTo>
                    <a:pt x="883" y="1066"/>
                    <a:pt x="873" y="1076"/>
                    <a:pt x="861" y="1076"/>
                  </a:cubicBezTo>
                  <a:cubicBezTo>
                    <a:pt x="849" y="1076"/>
                    <a:pt x="839" y="1066"/>
                    <a:pt x="839" y="1054"/>
                  </a:cubicBezTo>
                  <a:cubicBezTo>
                    <a:pt x="839" y="727"/>
                    <a:pt x="839" y="727"/>
                    <a:pt x="839" y="727"/>
                  </a:cubicBezTo>
                  <a:cubicBezTo>
                    <a:pt x="839" y="715"/>
                    <a:pt x="849" y="705"/>
                    <a:pt x="861" y="705"/>
                  </a:cubicBezTo>
                  <a:cubicBezTo>
                    <a:pt x="873" y="705"/>
                    <a:pt x="883" y="715"/>
                    <a:pt x="883" y="727"/>
                  </a:cubicBezTo>
                  <a:lnTo>
                    <a:pt x="883" y="1054"/>
                  </a:lnTo>
                  <a:close/>
                  <a:moveTo>
                    <a:pt x="883" y="555"/>
                  </a:moveTo>
                  <a:cubicBezTo>
                    <a:pt x="883" y="567"/>
                    <a:pt x="873" y="577"/>
                    <a:pt x="861" y="577"/>
                  </a:cubicBezTo>
                  <a:cubicBezTo>
                    <a:pt x="849" y="577"/>
                    <a:pt x="839" y="567"/>
                    <a:pt x="839" y="555"/>
                  </a:cubicBezTo>
                  <a:cubicBezTo>
                    <a:pt x="839" y="314"/>
                    <a:pt x="839" y="314"/>
                    <a:pt x="839" y="314"/>
                  </a:cubicBezTo>
                  <a:cubicBezTo>
                    <a:pt x="839" y="302"/>
                    <a:pt x="849" y="292"/>
                    <a:pt x="861" y="292"/>
                  </a:cubicBezTo>
                  <a:cubicBezTo>
                    <a:pt x="873" y="292"/>
                    <a:pt x="883" y="302"/>
                    <a:pt x="883" y="314"/>
                  </a:cubicBezTo>
                  <a:lnTo>
                    <a:pt x="883" y="555"/>
                  </a:lnTo>
                  <a:close/>
                  <a:moveTo>
                    <a:pt x="883" y="177"/>
                  </a:moveTo>
                  <a:cubicBezTo>
                    <a:pt x="883" y="189"/>
                    <a:pt x="873" y="199"/>
                    <a:pt x="861" y="199"/>
                  </a:cubicBezTo>
                  <a:cubicBezTo>
                    <a:pt x="849" y="199"/>
                    <a:pt x="839" y="189"/>
                    <a:pt x="839" y="177"/>
                  </a:cubicBezTo>
                  <a:cubicBezTo>
                    <a:pt x="839" y="50"/>
                    <a:pt x="839" y="50"/>
                    <a:pt x="839" y="50"/>
                  </a:cubicBezTo>
                  <a:cubicBezTo>
                    <a:pt x="839" y="37"/>
                    <a:pt x="849" y="28"/>
                    <a:pt x="861" y="28"/>
                  </a:cubicBezTo>
                  <a:cubicBezTo>
                    <a:pt x="873" y="28"/>
                    <a:pt x="883" y="37"/>
                    <a:pt x="883" y="50"/>
                  </a:cubicBezTo>
                  <a:lnTo>
                    <a:pt x="883" y="17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9" name="Freeform 11">
              <a:extLst>
                <a:ext uri="{FF2B5EF4-FFF2-40B4-BE49-F238E27FC236}">
                  <a16:creationId xmlns:a16="http://schemas.microsoft.com/office/drawing/2014/main" id="{84FA0CD7-B813-9741-986B-1D1E51EC8BD0}"/>
                </a:ext>
              </a:extLst>
            </p:cNvPr>
            <p:cNvSpPr>
              <a:spLocks noEditPoints="1"/>
            </p:cNvSpPr>
            <p:nvPr/>
          </p:nvSpPr>
          <p:spPr bwMode="auto">
            <a:xfrm>
              <a:off x="2032" y="1052"/>
              <a:ext cx="3625" cy="2201"/>
            </a:xfrm>
            <a:custGeom>
              <a:avLst/>
              <a:gdLst>
                <a:gd name="T0" fmla="*/ 0 w 3625"/>
                <a:gd name="T1" fmla="*/ 2201 h 2201"/>
                <a:gd name="T2" fmla="*/ 1420 w 3625"/>
                <a:gd name="T3" fmla="*/ 0 h 2201"/>
                <a:gd name="T4" fmla="*/ 1520 w 3625"/>
                <a:gd name="T5" fmla="*/ 0 h 2201"/>
                <a:gd name="T6" fmla="*/ 98 w 3625"/>
                <a:gd name="T7" fmla="*/ 2201 h 2201"/>
                <a:gd name="T8" fmla="*/ 0 w 3625"/>
                <a:gd name="T9" fmla="*/ 2201 h 2201"/>
                <a:gd name="T10" fmla="*/ 2106 w 3625"/>
                <a:gd name="T11" fmla="*/ 0 h 2201"/>
                <a:gd name="T12" fmla="*/ 3526 w 3625"/>
                <a:gd name="T13" fmla="*/ 2201 h 2201"/>
                <a:gd name="T14" fmla="*/ 3625 w 3625"/>
                <a:gd name="T15" fmla="*/ 2201 h 2201"/>
                <a:gd name="T16" fmla="*/ 2203 w 3625"/>
                <a:gd name="T17" fmla="*/ 0 h 2201"/>
                <a:gd name="T18" fmla="*/ 2106 w 3625"/>
                <a:gd name="T19"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25" h="2201">
                  <a:moveTo>
                    <a:pt x="0" y="2201"/>
                  </a:moveTo>
                  <a:lnTo>
                    <a:pt x="1420" y="0"/>
                  </a:lnTo>
                  <a:lnTo>
                    <a:pt x="1520" y="0"/>
                  </a:lnTo>
                  <a:lnTo>
                    <a:pt x="98" y="2201"/>
                  </a:lnTo>
                  <a:lnTo>
                    <a:pt x="0" y="2201"/>
                  </a:lnTo>
                  <a:close/>
                  <a:moveTo>
                    <a:pt x="2106" y="0"/>
                  </a:moveTo>
                  <a:lnTo>
                    <a:pt x="3526" y="2201"/>
                  </a:lnTo>
                  <a:lnTo>
                    <a:pt x="3625" y="2201"/>
                  </a:lnTo>
                  <a:lnTo>
                    <a:pt x="2203" y="0"/>
                  </a:lnTo>
                  <a:lnTo>
                    <a:pt x="210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8" name="Rectangle 27">
            <a:extLst>
              <a:ext uri="{FF2B5EF4-FFF2-40B4-BE49-F238E27FC236}">
                <a16:creationId xmlns:a16="http://schemas.microsoft.com/office/drawing/2014/main" id="{AF4F633F-BAF2-4D41-9BEC-87BEA53A632A}"/>
              </a:ext>
            </a:extLst>
          </p:cNvPr>
          <p:cNvSpPr/>
          <p:nvPr/>
        </p:nvSpPr>
        <p:spPr>
          <a:xfrm>
            <a:off x="6679474" y="2429691"/>
            <a:ext cx="4606835" cy="2612572"/>
          </a:xfrm>
          <a:prstGeom prst="rect">
            <a:avLst/>
          </a:prstGeom>
          <a:noFill/>
          <a:ln w="9525" cap="rnd" cmpd="sng" algn="ctr">
            <a:solidFill>
              <a:srgbClr val="E71C57"/>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a:solidFill>
                <a:srgbClr val="FFFFFF"/>
              </a:solidFill>
            </a:endParaRPr>
          </a:p>
        </p:txBody>
      </p:sp>
      <p:sp>
        <p:nvSpPr>
          <p:cNvPr id="29" name="TextBox 28">
            <a:extLst>
              <a:ext uri="{FF2B5EF4-FFF2-40B4-BE49-F238E27FC236}">
                <a16:creationId xmlns:a16="http://schemas.microsoft.com/office/drawing/2014/main" id="{51D3A411-3F4A-8845-AEB3-04EA29709CEB}"/>
              </a:ext>
            </a:extLst>
          </p:cNvPr>
          <p:cNvSpPr txBox="1"/>
          <p:nvPr/>
        </p:nvSpPr>
        <p:spPr>
          <a:xfrm>
            <a:off x="6679471" y="2159729"/>
            <a:ext cx="2394857" cy="2090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400" i="1" dirty="0">
                <a:solidFill>
                  <a:srgbClr val="E71C57"/>
                </a:solidFill>
              </a:rPr>
              <a:t>Zoom slide suivante</a:t>
            </a:r>
          </a:p>
        </p:txBody>
      </p:sp>
    </p:spTree>
    <p:extLst>
      <p:ext uri="{BB962C8B-B14F-4D97-AF65-F5344CB8AC3E}">
        <p14:creationId xmlns:p14="http://schemas.microsoft.com/office/powerpoint/2010/main" val="301793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0&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86.66107&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3156c52b-00d3-421d-a1a8-46d7b9fccee1&quot; parentId=&quot;&quot; level=&quot;1&quot; generateAgendaSlide=&quot;1&quot; showAgendaItem=&quot;1&quot; isBreak=&quot;0&quot; topic=&quot;Présentation de l'étude de cas&quot; agendaSlideId=&quot;ddfdc15a-0405-433a-9161-c4eafc8f5339&quot; /&gt;&lt;item duration=&quot;30&quot; id=&quot;2aa92975-1f66-4ffa-ba88-42b10d46a89c&quot; parentId=&quot;&quot; level=&quot;1&quot; generateAgendaSlide=&quot;1&quot; showAgendaItem=&quot;1&quot; isBreak=&quot;0&quot; topic=&quot;Composition des équipes et calendrier&quot; agendaSlideId=&quot;f86ff4e3-f763-4f13-9b9d-5e28c9239c15&quot; /&gt;&lt;item duration=&quot;30&quot; id=&quot;bc04222a-f469-43e4-9f2e-b57a764fce25&quot; parentId=&quot;&quot; level=&quot;1&quot; generateAgendaSlide=&quot;1&quot; showAgendaItem=&quot;1&quot; isBreak=&quot;0&quot; topic=&quot;Travail préparatoire en équipe&quot; agendaSlideId=&quot;aa9940b7-d11a-42ad-8cda-08aaac9d777a&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Jfo0kCpQBCL2pyaNaGU6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Jfo0kCpQBCL2pyaNaGU6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Jfo0kCpQBCL2pyaNaGU6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WJfo0kCpQBCL2pyaNaGU6Q"/>
</p:tagLst>
</file>

<file path=ppt/tags/tag108.xml><?xml version="1.0" encoding="utf-8"?>
<p:tagLst xmlns:a="http://schemas.openxmlformats.org/drawingml/2006/main" xmlns:r="http://schemas.openxmlformats.org/officeDocument/2006/relationships" xmlns:p="http://schemas.openxmlformats.org/presentationml/2006/main">
  <p:tag name="EE4P_CHART_COLORSCHEME" val="Default"/>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SLIDEID" val="f86ff4e3-f763-4f13-9b9d-5e28c9239c15"/>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f86ff4e3-f763-4f13-9b9d-5e28c9239c15_Element"/>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f86ff4e3-f763-4f13-9b9d-5e28c9239c15_Element"/>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f86ff4e3-f763-4f13-9b9d-5e28c9239c15_Topic"/>
  <p:tag name="EE4P_AGENDAWIZARD_CONTENT" val="/Composition des équipes et calendrier"/>
  <p:tag name="EE4P_AGENDAWIZARD_PROPERTIES" val="406.8057/255.2221/417.0332/29.55583"/>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ddfdc15a-0405-433a-9161-c4eafc8f5339_Topic"/>
  <p:tag name="EE4P_AGENDAWIZARD_CONTENT" val="/Présentation de l'étude de cas"/>
  <p:tag name="EE4P_AGENDAWIZARD_PROPERTIES" val="406.8057/210.6662/417.0332/29.55591"/>
</p:tagLst>
</file>

<file path=ppt/tags/tag11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Jfo0kCpQBCL2pyaNaGU6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o9bTaCfSyu5vEed.ZDFn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O6.pWoRLGqLfiCNNUaP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UKGmguQPsUGvz4lCe4tkz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pSA06_nSciRg4GdppDTTg"/>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n.KAJR6Tfe0gJvBt1b2Zw"/>
</p:tagLst>
</file>

<file path=ppt/tags/tag8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SLIDEID" val="ddfdc15a-0405-433a-9161-c4eafc8f5339"/>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f86ff4e3-f763-4f13-9b9d-5e28c9239c15_Topic"/>
  <p:tag name="EE4P_AGENDAWIZARD_CONTENT" val="/Composition des équipes et calendrier"/>
  <p:tag name="EE4P_AGENDAWIZARD_PROPERTIES" val="406.8057/255.2221/417.0332/29.55583"/>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ddfdc15a-0405-433a-9161-c4eafc8f5339_Element"/>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ddfdc15a-0405-433a-9161-c4eafc8f5339_Element"/>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ddfdc15a-0405-433a-9161-c4eafc8f5339_Topic"/>
  <p:tag name="EE4P_AGENDAWIZARD_CONTENT" val="/Présentation de l'étude de cas"/>
  <p:tag name="EE4P_AGENDAWIZARD_PROPERTIES" val="406.8057/210.6662/417.0332/29.55591"/>
</p:tagLst>
</file>

<file path=ppt/tags/tag9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emn8PhmSdGtWErkiDV32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Jfo0kCpQBCL2pyaNaGU6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Jfo0kCpQBCL2pyaNaGU6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753</TotalTime>
  <Words>1694</Words>
  <Application>Microsoft Macintosh PowerPoint</Application>
  <PresentationFormat>Widescreen</PresentationFormat>
  <Paragraphs>224</Paragraphs>
  <Slides>19</Slides>
  <Notes>13</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9</vt:i4>
      </vt:variant>
      <vt:variant>
        <vt:lpstr>Custom Shows</vt:lpstr>
      </vt:variant>
      <vt:variant>
        <vt:i4>1</vt:i4>
      </vt:variant>
    </vt:vector>
  </HeadingPairs>
  <TitlesOfParts>
    <vt:vector size="24" baseType="lpstr">
      <vt:lpstr>Arial</vt:lpstr>
      <vt:lpstr>Trebuchet MS</vt:lpstr>
      <vt:lpstr>BCG Grid 16:9</vt:lpstr>
      <vt:lpstr>think-cell Slide</vt:lpstr>
      <vt:lpstr>Etude de cas  LivraisonCo Brief initial </vt:lpstr>
      <vt:lpstr>Qui sommes-nous?</vt:lpstr>
      <vt:lpstr>Agenda</vt:lpstr>
      <vt:lpstr>Objectif : Faire l'expérience en accélérée d'un projet de stratégie avec composante data science </vt:lpstr>
      <vt:lpstr>Présentation du datathon</vt:lpstr>
      <vt:lpstr>Livrable 1 : Prédiction du trafic routier à Paris</vt:lpstr>
      <vt:lpstr>Livrable 1 : LivraisonCo vous charge de la collecte des données</vt:lpstr>
      <vt:lpstr>Livrable 1 : Précisions pour télécharger les données</vt:lpstr>
      <vt:lpstr>Livrable 2 : Présentation de 7 planches max décrivant deux sujets</vt:lpstr>
      <vt:lpstr>Livrable 2 : Zoom sur la feuille de route pour la suite de la mission</vt:lpstr>
      <vt:lpstr>Récap: livrables attendus (avant le 11 déc 20h)</vt:lpstr>
      <vt:lpstr>Evaluation de la performance</vt:lpstr>
      <vt:lpstr>Agenda</vt:lpstr>
      <vt:lpstr>Equipes de 5/6 personnes à composer</vt:lpstr>
      <vt:lpstr>Calendrier de l'étude de cas</vt:lpstr>
      <vt:lpstr>Nos attentes</vt:lpstr>
      <vt:lpstr>Prérequis techniques pour aborder le cas</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Fissette, Julien</cp:lastModifiedBy>
  <cp:revision>641</cp:revision>
  <cp:lastPrinted>1999-12-31T23:00:00Z</cp:lastPrinted>
  <dcterms:created xsi:type="dcterms:W3CDTF">2019-10-30T17:12:22Z</dcterms:created>
  <dcterms:modified xsi:type="dcterms:W3CDTF">2020-11-30T17:1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